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24" r:id="rId2"/>
    <p:sldId id="338" r:id="rId3"/>
    <p:sldId id="339" r:id="rId4"/>
    <p:sldId id="340" r:id="rId5"/>
    <p:sldId id="326" r:id="rId6"/>
    <p:sldId id="327" r:id="rId7"/>
    <p:sldId id="328" r:id="rId8"/>
    <p:sldId id="323" r:id="rId9"/>
    <p:sldId id="331" r:id="rId10"/>
    <p:sldId id="332" r:id="rId11"/>
    <p:sldId id="334" r:id="rId12"/>
    <p:sldId id="329" r:id="rId13"/>
    <p:sldId id="337" r:id="rId14"/>
  </p:sldIdLst>
  <p:sldSz cx="9144000" cy="6858000" type="screen4x3"/>
  <p:notesSz cx="6784975" cy="9906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033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밝은 스타일 1 - 강조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테마 스타일 1 - 강조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밝은 스타일 1 - 강조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보통 스타일 4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밝은 스타일 3 - 강조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77" autoAdjust="0"/>
    <p:restoredTop sz="94660"/>
  </p:normalViewPr>
  <p:slideViewPr>
    <p:cSldViewPr>
      <p:cViewPr>
        <p:scale>
          <a:sx n="66" d="100"/>
          <a:sy n="66" d="100"/>
        </p:scale>
        <p:origin x="-1494" y="-13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"/>
                  <c:y val="-1.6576186502546469E-2"/>
                </c:manualLayout>
              </c:layout>
              <c:spPr/>
              <c:txPr>
                <a:bodyPr/>
                <a:lstStyle/>
                <a:p>
                  <a:pPr>
                    <a:defRPr sz="2000">
                      <a:solidFill>
                        <a:srgbClr val="C00000"/>
                      </a:solidFill>
                      <a:latin typeface="HY견고딕" panose="02030600000101010101" pitchFamily="18" charset="-127"/>
                      <a:ea typeface="HY견고딕" panose="02030600000101010101" pitchFamily="18" charset="-127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latin typeface="HY견고딕" panose="02030600000101010101" pitchFamily="18" charset="-127"/>
                    <a:ea typeface="HY견고딕" panose="02030600000101010101" pitchFamily="18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1</c:f>
              <c:strCache>
                <c:ptCount val="10"/>
                <c:pt idx="0">
                  <c:v>한국</c:v>
                </c:pt>
                <c:pt idx="1">
                  <c:v>호주</c:v>
                </c:pt>
                <c:pt idx="2">
                  <c:v>멕시코</c:v>
                </c:pt>
                <c:pt idx="3">
                  <c:v>이스라엘</c:v>
                </c:pt>
                <c:pt idx="4">
                  <c:v>칠레</c:v>
                </c:pt>
                <c:pt idx="5">
                  <c:v>일본</c:v>
                </c:pt>
                <c:pt idx="6">
                  <c:v>슬로베니아</c:v>
                </c:pt>
                <c:pt idx="7">
                  <c:v>그리스</c:v>
                </c:pt>
                <c:pt idx="8">
                  <c:v>미국</c:v>
                </c:pt>
                <c:pt idx="9">
                  <c:v>스페인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48</c:v>
                </c:pt>
                <c:pt idx="1">
                  <c:v>35.5</c:v>
                </c:pt>
                <c:pt idx="2">
                  <c:v>27.6</c:v>
                </c:pt>
                <c:pt idx="3">
                  <c:v>20.8</c:v>
                </c:pt>
                <c:pt idx="4">
                  <c:v>19.8</c:v>
                </c:pt>
                <c:pt idx="5">
                  <c:v>19.399999999999999</c:v>
                </c:pt>
                <c:pt idx="6">
                  <c:v>16.7</c:v>
                </c:pt>
                <c:pt idx="7">
                  <c:v>15.8</c:v>
                </c:pt>
                <c:pt idx="8">
                  <c:v>14.6</c:v>
                </c:pt>
                <c:pt idx="9">
                  <c:v>12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1539584"/>
        <c:axId val="23482368"/>
      </c:barChart>
      <c:catAx>
        <c:axId val="16153958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HY견고딕" panose="02030600000101010101" pitchFamily="18" charset="-127"/>
                <a:ea typeface="HY견고딕" panose="02030600000101010101" pitchFamily="18" charset="-127"/>
              </a:defRPr>
            </a:pPr>
            <a:endParaRPr lang="ko-KR"/>
          </a:p>
        </c:txPr>
        <c:crossAx val="23482368"/>
        <c:crosses val="autoZero"/>
        <c:auto val="1"/>
        <c:lblAlgn val="ctr"/>
        <c:lblOffset val="100"/>
        <c:noMultiLvlLbl val="0"/>
      </c:catAx>
      <c:valAx>
        <c:axId val="2348236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615395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0895" cy="495855"/>
          </a:xfrm>
          <a:prstGeom prst="rect">
            <a:avLst/>
          </a:prstGeom>
        </p:spPr>
        <p:txBody>
          <a:bodyPr vert="horz" lIns="91237" tIns="45621" rIns="91237" bIns="45621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2498" y="2"/>
            <a:ext cx="2940895" cy="495855"/>
          </a:xfrm>
          <a:prstGeom prst="rect">
            <a:avLst/>
          </a:prstGeom>
        </p:spPr>
        <p:txBody>
          <a:bodyPr vert="horz" lIns="91237" tIns="45621" rIns="91237" bIns="45621" rtlCol="0"/>
          <a:lstStyle>
            <a:lvl1pPr algn="r">
              <a:defRPr sz="1200"/>
            </a:lvl1pPr>
          </a:lstStyle>
          <a:p>
            <a:fld id="{194B0690-1860-49F4-A2C2-D1451BC185EA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08564"/>
            <a:ext cx="2940895" cy="495854"/>
          </a:xfrm>
          <a:prstGeom prst="rect">
            <a:avLst/>
          </a:prstGeom>
        </p:spPr>
        <p:txBody>
          <a:bodyPr vert="horz" lIns="91237" tIns="45621" rIns="91237" bIns="45621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2498" y="9408564"/>
            <a:ext cx="2940895" cy="495854"/>
          </a:xfrm>
          <a:prstGeom prst="rect">
            <a:avLst/>
          </a:prstGeom>
        </p:spPr>
        <p:txBody>
          <a:bodyPr vert="horz" lIns="91237" tIns="45621" rIns="91237" bIns="45621" rtlCol="0" anchor="b"/>
          <a:lstStyle>
            <a:lvl1pPr algn="r">
              <a:defRPr sz="1200"/>
            </a:lvl1pPr>
          </a:lstStyle>
          <a:p>
            <a:fld id="{2F39F13D-8AA4-4902-BB87-148AC03C522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960167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0156" cy="495300"/>
          </a:xfrm>
          <a:prstGeom prst="rect">
            <a:avLst/>
          </a:prstGeom>
        </p:spPr>
        <p:txBody>
          <a:bodyPr vert="horz" lIns="91227" tIns="45617" rIns="91227" bIns="45617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3254" y="0"/>
            <a:ext cx="2940156" cy="495300"/>
          </a:xfrm>
          <a:prstGeom prst="rect">
            <a:avLst/>
          </a:prstGeom>
        </p:spPr>
        <p:txBody>
          <a:bodyPr vert="horz" lIns="91227" tIns="45617" rIns="91227" bIns="45617" rtlCol="0"/>
          <a:lstStyle>
            <a:lvl1pPr algn="r">
              <a:defRPr sz="1200"/>
            </a:lvl1pPr>
          </a:lstStyle>
          <a:p>
            <a:fld id="{CB9F9C21-E250-428F-8E89-2F8A77951F5B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27" tIns="45617" rIns="91227" bIns="45617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8498" y="4705350"/>
            <a:ext cx="5427980" cy="4457700"/>
          </a:xfrm>
          <a:prstGeom prst="rect">
            <a:avLst/>
          </a:prstGeom>
        </p:spPr>
        <p:txBody>
          <a:bodyPr vert="horz" lIns="91227" tIns="45617" rIns="91227" bIns="45617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08982"/>
            <a:ext cx="2940156" cy="495300"/>
          </a:xfrm>
          <a:prstGeom prst="rect">
            <a:avLst/>
          </a:prstGeom>
        </p:spPr>
        <p:txBody>
          <a:bodyPr vert="horz" lIns="91227" tIns="45617" rIns="91227" bIns="45617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3254" y="9408982"/>
            <a:ext cx="2940156" cy="495300"/>
          </a:xfrm>
          <a:prstGeom prst="rect">
            <a:avLst/>
          </a:prstGeom>
        </p:spPr>
        <p:txBody>
          <a:bodyPr vert="horz" lIns="91227" tIns="45617" rIns="91227" bIns="45617" rtlCol="0" anchor="b"/>
          <a:lstStyle>
            <a:lvl1pPr algn="r">
              <a:defRPr sz="1200"/>
            </a:lvl1pPr>
          </a:lstStyle>
          <a:p>
            <a:fld id="{0C824D6E-5587-4DAD-A68B-53EE779C3DA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461923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42933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93618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2694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70361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6476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88181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7435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520839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968959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94493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98162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ECDEBD-D546-4C56-96AD-60EDC955B841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5042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g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4.png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5" Type="http://schemas.openxmlformats.org/officeDocument/2006/relationships/image" Target="../media/image45.jpeg"/><Relationship Id="rId4" Type="http://schemas.openxmlformats.org/officeDocument/2006/relationships/image" Target="../media/image44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4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1.png"/><Relationship Id="rId4" Type="http://schemas.openxmlformats.org/officeDocument/2006/relationships/image" Target="../media/image50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hyperlink" Target="http://terms.naver.com/entry.nhn?cid=769&amp;docId=985697&amp;categoryId=2162" TargetMode="External"/><Relationship Id="rId18" Type="http://schemas.openxmlformats.org/officeDocument/2006/relationships/image" Target="../media/image14.png"/><Relationship Id="rId3" Type="http://schemas.openxmlformats.org/officeDocument/2006/relationships/image" Target="../media/image7.png"/><Relationship Id="rId21" Type="http://schemas.openxmlformats.org/officeDocument/2006/relationships/hyperlink" Target="http://terms.naver.com/entry.nhn?cid=769&amp;docId=956880&amp;categoryId=1843" TargetMode="External"/><Relationship Id="rId7" Type="http://schemas.openxmlformats.org/officeDocument/2006/relationships/hyperlink" Target="http://terms.naver.com/entry.nhn?cid=771&amp;docId=1913071&amp;categoryId=1858" TargetMode="External"/><Relationship Id="rId12" Type="http://schemas.openxmlformats.org/officeDocument/2006/relationships/image" Target="../media/image11.png"/><Relationship Id="rId17" Type="http://schemas.openxmlformats.org/officeDocument/2006/relationships/hyperlink" Target="http://terms.naver.com/entry.nhn?docId=559471&amp;cid=1597&amp;categoryId=1597" TargetMode="External"/><Relationship Id="rId25" Type="http://schemas.openxmlformats.org/officeDocument/2006/relationships/image" Target="../media/image18.png"/><Relationship Id="rId2" Type="http://schemas.openxmlformats.org/officeDocument/2006/relationships/image" Target="../media/image6.png"/><Relationship Id="rId16" Type="http://schemas.openxmlformats.org/officeDocument/2006/relationships/image" Target="../media/image13.png"/><Relationship Id="rId20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hyperlink" Target="http://terms.naver.com/entry.nhn?cid=767&amp;docId=1524498&amp;categoryId=2065" TargetMode="External"/><Relationship Id="rId24" Type="http://schemas.openxmlformats.org/officeDocument/2006/relationships/image" Target="../media/image17.png"/><Relationship Id="rId5" Type="http://schemas.openxmlformats.org/officeDocument/2006/relationships/hyperlink" Target="http://terms.naver.com/entry.nhn?docId=657659&amp;cid=1596&amp;categoryId=1596" TargetMode="External"/><Relationship Id="rId15" Type="http://schemas.openxmlformats.org/officeDocument/2006/relationships/hyperlink" Target="http://terms.naver.com/entry.nhn?cid=767&amp;docId=956621&amp;categoryId=1521" TargetMode="External"/><Relationship Id="rId23" Type="http://schemas.openxmlformats.org/officeDocument/2006/relationships/hyperlink" Target="http://terms.naver.com/entry.nhn?cid=768&amp;docId=1840360&amp;categoryId=1850" TargetMode="External"/><Relationship Id="rId10" Type="http://schemas.openxmlformats.org/officeDocument/2006/relationships/image" Target="../media/image10.png"/><Relationship Id="rId19" Type="http://schemas.openxmlformats.org/officeDocument/2006/relationships/hyperlink" Target="http://terms.naver.com/entry.nhn?docId=1524550&amp;cid=768&amp;categoryId=1854" TargetMode="External"/><Relationship Id="rId4" Type="http://schemas.openxmlformats.org/officeDocument/2006/relationships/chart" Target="../charts/chart1.xml"/><Relationship Id="rId9" Type="http://schemas.openxmlformats.org/officeDocument/2006/relationships/hyperlink" Target="http://terms.naver.com/entry.nhn?docId=1522864&amp;cid=769&amp;categoryId=1845" TargetMode="External"/><Relationship Id="rId14" Type="http://schemas.openxmlformats.org/officeDocument/2006/relationships/image" Target="../media/image12.png"/><Relationship Id="rId22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openxmlformats.org/officeDocument/2006/relationships/image" Target="../media/image20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g"/><Relationship Id="rId13" Type="http://schemas.openxmlformats.org/officeDocument/2006/relationships/image" Target="../media/image35.jpg"/><Relationship Id="rId18" Type="http://schemas.openxmlformats.org/officeDocument/2006/relationships/image" Target="../media/image40.jpg"/><Relationship Id="rId3" Type="http://schemas.openxmlformats.org/officeDocument/2006/relationships/image" Target="../media/image7.png"/><Relationship Id="rId7" Type="http://schemas.openxmlformats.org/officeDocument/2006/relationships/image" Target="../media/image29.jpg"/><Relationship Id="rId12" Type="http://schemas.openxmlformats.org/officeDocument/2006/relationships/image" Target="../media/image34.jpg"/><Relationship Id="rId17" Type="http://schemas.openxmlformats.org/officeDocument/2006/relationships/image" Target="../media/image39.jp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8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11" Type="http://schemas.openxmlformats.org/officeDocument/2006/relationships/image" Target="../media/image33.jpg"/><Relationship Id="rId5" Type="http://schemas.openxmlformats.org/officeDocument/2006/relationships/image" Target="../media/image27.png"/><Relationship Id="rId15" Type="http://schemas.openxmlformats.org/officeDocument/2006/relationships/image" Target="../media/image37.jpg"/><Relationship Id="rId10" Type="http://schemas.openxmlformats.org/officeDocument/2006/relationships/image" Target="../media/image32.jpg"/><Relationship Id="rId19" Type="http://schemas.openxmlformats.org/officeDocument/2006/relationships/image" Target="../media/image41.jpg"/><Relationship Id="rId4" Type="http://schemas.openxmlformats.org/officeDocument/2006/relationships/image" Target="../media/image20.png"/><Relationship Id="rId9" Type="http://schemas.openxmlformats.org/officeDocument/2006/relationships/image" Target="../media/image31.jpg"/><Relationship Id="rId14" Type="http://schemas.openxmlformats.org/officeDocument/2006/relationships/image" Target="../media/image36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11" Type="http://schemas.openxmlformats.org/officeDocument/2006/relationships/image" Target="../media/image43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42.png"/><Relationship Id="rId4" Type="http://schemas.openxmlformats.org/officeDocument/2006/relationships/tags" Target="../tags/tag6.xml"/><Relationship Id="rId9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42425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Oval 45"/>
          <p:cNvSpPr/>
          <p:nvPr/>
        </p:nvSpPr>
        <p:spPr>
          <a:xfrm>
            <a:off x="215304" y="161493"/>
            <a:ext cx="539719" cy="50801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51238" y="1423187"/>
            <a:ext cx="6696744" cy="13623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32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활기차고 밝은 고령사회</a:t>
            </a:r>
            <a:endParaRPr lang="en-US" altLang="ko-KR" sz="3200" dirty="0" smtClean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r">
              <a:lnSpc>
                <a:spcPct val="150000"/>
              </a:lnSpc>
            </a:pPr>
            <a:r>
              <a:rPr lang="ko-KR" altLang="en-US" sz="32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복지 인재 양성 허브</a:t>
            </a:r>
            <a:endParaRPr lang="en-US" altLang="ko-KR" sz="3200" dirty="0" smtClean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150042" y="2996952"/>
            <a:ext cx="6149993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217142" y="343248"/>
            <a:ext cx="53788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14</a:t>
            </a:r>
            <a:endParaRPr lang="en-US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847835" y="5374034"/>
            <a:ext cx="254058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sz="28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71010" y="254848"/>
            <a:ext cx="1842926" cy="4231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복지위원회</a:t>
            </a:r>
            <a:endParaRPr lang="en-US" altLang="ko-KR" sz="11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정감</a:t>
            </a:r>
            <a:r>
              <a:rPr lang="ko-KR" altLang="en-US" sz="11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</a:t>
            </a:r>
            <a:endParaRPr lang="en-US" sz="11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893433" y="5875444"/>
            <a:ext cx="244938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400" dirty="0" err="1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400" dirty="0">
              <a:solidFill>
                <a:schemeClr val="accent2">
                  <a:lumMod val="7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84" y="5832161"/>
            <a:ext cx="539951" cy="258727"/>
          </a:xfrm>
          <a:prstGeom prst="rect">
            <a:avLst/>
          </a:prstGeom>
        </p:spPr>
      </p:pic>
      <p:grpSp>
        <p:nvGrpSpPr>
          <p:cNvPr id="14" name="Group 348"/>
          <p:cNvGrpSpPr/>
          <p:nvPr/>
        </p:nvGrpSpPr>
        <p:grpSpPr>
          <a:xfrm>
            <a:off x="426239" y="6370186"/>
            <a:ext cx="1453620" cy="288575"/>
            <a:chOff x="2077120" y="4859661"/>
            <a:chExt cx="1453620" cy="288575"/>
          </a:xfrm>
        </p:grpSpPr>
        <p:sp>
          <p:nvSpPr>
            <p:cNvPr id="15" name="Freeform 6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TextBox 15"/>
            <p:cNvSpPr txBox="1"/>
            <p:nvPr>
              <p:custDataLst>
                <p:tags r:id="rId4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ww.mslee.co.kr</a:t>
              </a:r>
              <a:endPara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3189238" y="3211461"/>
            <a:ext cx="414277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국노인인력개발원</a:t>
            </a:r>
            <a:endParaRPr lang="en-US" altLang="ko-KR" sz="2400" dirty="0" smtClean="0">
              <a:solidFill>
                <a:schemeClr val="tx1">
                  <a:lumMod val="65000"/>
                  <a:lumOff val="3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국보건복지인력개발원</a:t>
            </a:r>
            <a:r>
              <a:rPr lang="en-US" altLang="ko-KR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en-US" altLang="ko-KR" sz="24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0684" y="1511929"/>
            <a:ext cx="816474" cy="547697"/>
          </a:xfrm>
          <a:prstGeom prst="rect">
            <a:avLst/>
          </a:prstGeom>
        </p:spPr>
      </p:pic>
      <p:pic>
        <p:nvPicPr>
          <p:cNvPr id="18" name="그림 17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4220" y="2227652"/>
            <a:ext cx="759199" cy="557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386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53302" y="633402"/>
            <a:ext cx="771917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어린이집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국가평가인증제도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선 및 의무화 추진 점검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9286" y="1228620"/>
            <a:ext cx="864720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「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어린이집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국가평가인증제도」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2005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부터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어린이집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보육서비스의 질적 수준 향상을 위해 도입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자율참여제도 시행으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체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3,77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소 중 인증유지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어린이집은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2,109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소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73.4%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에 불과함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나머지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6.7%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는 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인증시설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특별한 인센티브나 불이익이 없음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인증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재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신청 과정에서 소요되는 행정업무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력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시간 부담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아이돌봄에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지장 초래 여론도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이러한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상황에서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복지부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평가인증 의무화제도」시행계획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5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하반기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실효성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문 여전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978724" y="5743884"/>
            <a:ext cx="7908779" cy="9437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평가인증제도의 변별력 제고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현장부담 완화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실효성 강화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로 조기 안정적 정착 추진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6" name="오른쪽 화살표 25"/>
          <p:cNvSpPr/>
          <p:nvPr/>
        </p:nvSpPr>
        <p:spPr>
          <a:xfrm>
            <a:off x="514169" y="589286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46" name="오른쪽 화살표 45"/>
          <p:cNvSpPr/>
          <p:nvPr/>
        </p:nvSpPr>
        <p:spPr>
          <a:xfrm>
            <a:off x="527227" y="213285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828" y="113548"/>
            <a:ext cx="1112295" cy="269277"/>
          </a:xfrm>
          <a:prstGeom prst="rect">
            <a:avLst/>
          </a:prstGeom>
        </p:spPr>
      </p:pic>
      <p:sp>
        <p:nvSpPr>
          <p:cNvPr id="17" name="오른쪽 화살표 16"/>
          <p:cNvSpPr/>
          <p:nvPr/>
        </p:nvSpPr>
        <p:spPr>
          <a:xfrm>
            <a:off x="7092280" y="288762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5844716" y="250120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146" name="Picture 2" descr="http://www.aycteducare.go.kr/img/sub/exec_pur_img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9026" y="3429000"/>
            <a:ext cx="4791430" cy="222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3400010"/>
            <a:ext cx="1584176" cy="2343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48536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53302" y="633402"/>
            <a:ext cx="771917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육종사자 및 교직원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자격관리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검증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강화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추진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9286" y="1228620"/>
            <a:ext cx="864720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보육교직원 자격관리의 효율성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투명성 제고 위해 자격증 접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검정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교부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절차 담당</a:t>
            </a:r>
            <a:endParaRPr lang="ko-KR" altLang="en-US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보육교사 자격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고등학교 이상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졸업자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시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도지사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정교육시설 과정 이수자」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영유아보육법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제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21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조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6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문제는 「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도지사 지정교육시설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검증 없이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자격증 교부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年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명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신청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95%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취득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보육진흥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도지사 지정교육훈련시설에 관한 확인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검증사항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해당사항 없다’는 입장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896622" y="5743884"/>
            <a:ext cx="790877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정교육시설에 대한 검증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은 보육교사 자격증 발급의 최소 검증 필수조건</a:t>
            </a:r>
            <a:endParaRPr lang="en-US" altLang="ko-KR" sz="21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6" name="오른쪽 화살표 25"/>
          <p:cNvSpPr/>
          <p:nvPr/>
        </p:nvSpPr>
        <p:spPr>
          <a:xfrm>
            <a:off x="514169" y="589286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828" y="113548"/>
            <a:ext cx="1112295" cy="269277"/>
          </a:xfrm>
          <a:prstGeom prst="rect">
            <a:avLst/>
          </a:prstGeom>
        </p:spPr>
      </p:pic>
      <p:sp>
        <p:nvSpPr>
          <p:cNvPr id="21" name="오른쪽 화살표 20"/>
          <p:cNvSpPr/>
          <p:nvPr/>
        </p:nvSpPr>
        <p:spPr>
          <a:xfrm>
            <a:off x="6351513" y="249431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5940152" y="213285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Rectangle 6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5125" name="_x211766376" descr="EMB000057445c7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55" t="42018" r="41982" b="41808"/>
          <a:stretch>
            <a:fillRect/>
          </a:stretch>
        </p:blipFill>
        <p:spPr bwMode="auto">
          <a:xfrm>
            <a:off x="514168" y="3121831"/>
            <a:ext cx="4982799" cy="138728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4" name="Rectangle 8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5127" name="_x211806728" descr="EMB000057445c7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41" t="24796" r="27768" b="56328"/>
          <a:stretch>
            <a:fillRect/>
          </a:stretch>
        </p:blipFill>
        <p:spPr bwMode="auto">
          <a:xfrm>
            <a:off x="4443301" y="4077072"/>
            <a:ext cx="4253132" cy="15121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cxnSp>
        <p:nvCxnSpPr>
          <p:cNvPr id="6" name="직선 연결선 5"/>
          <p:cNvCxnSpPr/>
          <p:nvPr/>
        </p:nvCxnSpPr>
        <p:spPr>
          <a:xfrm>
            <a:off x="6048164" y="5517232"/>
            <a:ext cx="1548172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/>
          <p:cNvCxnSpPr/>
          <p:nvPr/>
        </p:nvCxnSpPr>
        <p:spPr>
          <a:xfrm>
            <a:off x="2483768" y="4365104"/>
            <a:ext cx="108012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803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392" y="44624"/>
            <a:ext cx="936104" cy="39094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53302" y="633402"/>
            <a:ext cx="771917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중증장애인생산품 우선구매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의계약 대행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사업 개선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5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7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9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6" name="그림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/>
        </p:nvSpPr>
        <p:spPr>
          <a:xfrm>
            <a:off x="388523" y="1340768"/>
            <a:ext cx="86472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중증장애인생산품의 원활한 구매와 활성화 차원에서 「구매 수의계약 무료대행사업」이행 중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계약대행 건수 매우 크게 증가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1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‘14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9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월 기준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40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440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①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대행업무의 급격한 증가에 따른 과부하 상황 노출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→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인당 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35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건 처리 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4.9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월 現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②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현장에서는 계약대행에 마케팅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사후관리 업무까지 요청 중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→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전원 </a:t>
            </a:r>
            <a:r>
              <a:rPr lang="ko-KR" altLang="en-US" sz="14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비정규직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(4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2" name="오른쪽 화살표 11"/>
          <p:cNvSpPr/>
          <p:nvPr/>
        </p:nvSpPr>
        <p:spPr>
          <a:xfrm>
            <a:off x="3779149" y="188496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TextBox 13"/>
          <p:cNvSpPr txBox="1"/>
          <p:nvPr/>
        </p:nvSpPr>
        <p:spPr>
          <a:xfrm>
            <a:off x="969644" y="5665237"/>
            <a:ext cx="8066088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중증장애인생산품의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1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전주기대행사업</a:t>
            </a:r>
            <a:r>
              <a:rPr lang="en-US" altLang="ko-KR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영업상담</a:t>
            </a:r>
            <a:r>
              <a:rPr lang="en-US" altLang="ko-KR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계약</a:t>
            </a:r>
            <a:r>
              <a:rPr lang="en-US" altLang="ko-KR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사후관리</a:t>
            </a:r>
            <a:r>
              <a:rPr lang="en-US" altLang="ko-KR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endParaRPr lang="en-US" altLang="ko-KR" sz="21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1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으로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확대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추진</a:t>
            </a:r>
            <a:endParaRPr lang="en-US" altLang="ko-KR" sz="21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오른쪽 화살표 14"/>
          <p:cNvSpPr/>
          <p:nvPr/>
        </p:nvSpPr>
        <p:spPr>
          <a:xfrm>
            <a:off x="527227" y="582764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7" name="그림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4415" y="3140968"/>
            <a:ext cx="6707197" cy="2376264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54" y="4077072"/>
            <a:ext cx="2124147" cy="112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238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392" y="44624"/>
            <a:ext cx="936104" cy="39094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53302" y="633402"/>
            <a:ext cx="771917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중증장애인생산품 무료수의계약대행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가이드라인 마련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5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7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9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6" name="그림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/>
        </p:nvSpPr>
        <p:spPr>
          <a:xfrm>
            <a:off x="388523" y="1340768"/>
            <a:ext cx="8647209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중증장애인생산품 생산시설 인증기관 수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393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소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14.9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월 現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매년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%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선 증가 추세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매년 지정기준 준수여부를 확인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점검하고 있음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문제는 예산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력부족으로 전수조사 불가능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①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근무 장애인 중 최저임금 이하 급여근로자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2,396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49.6%)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→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근로실태 기준 마련 필요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②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최저임금적용 제외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승인근로자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2,146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44.4%)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不승인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250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5.2%)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→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근로조건 기준 마련 필요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③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생산시설 안전도 및 위생 청결사항 등 근무환경 열악 →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근로환경 지표 기준 필요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2" name="오른쪽 화살표 11"/>
          <p:cNvSpPr/>
          <p:nvPr/>
        </p:nvSpPr>
        <p:spPr>
          <a:xfrm>
            <a:off x="6339645" y="151824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TextBox 13"/>
          <p:cNvSpPr txBox="1"/>
          <p:nvPr/>
        </p:nvSpPr>
        <p:spPr>
          <a:xfrm>
            <a:off x="969644" y="5665237"/>
            <a:ext cx="8066088" cy="986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수의계약대행 우선순위 및 기준등급제도」 마련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적용 통해 </a:t>
            </a:r>
            <a:endParaRPr lang="en-US" altLang="ko-KR" sz="21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21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노동환경 향상 기여</a:t>
            </a:r>
            <a:endParaRPr lang="en-US" altLang="ko-KR" sz="21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오른쪽 화살표 14"/>
          <p:cNvSpPr/>
          <p:nvPr/>
        </p:nvSpPr>
        <p:spPr>
          <a:xfrm>
            <a:off x="527227" y="582764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4798523" y="189673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6" name="표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6759312"/>
              </p:ext>
            </p:extLst>
          </p:nvPr>
        </p:nvGraphicFramePr>
        <p:xfrm>
          <a:off x="564502" y="3891398"/>
          <a:ext cx="8119864" cy="155448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014983"/>
                <a:gridCol w="768178"/>
                <a:gridCol w="864096"/>
                <a:gridCol w="720080"/>
                <a:gridCol w="936104"/>
                <a:gridCol w="720080"/>
                <a:gridCol w="1584176"/>
                <a:gridCol w="1512167"/>
              </a:tblGrid>
              <a:tr h="1187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구 분</a:t>
                      </a:r>
                      <a:endParaRPr lang="ko-KR" altLang="en-US" sz="1200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제출</a:t>
                      </a:r>
                      <a:endParaRPr lang="en-US" altLang="ko-KR" sz="1200" dirty="0" smtClean="0"/>
                    </a:p>
                    <a:p>
                      <a:pPr algn="ctr" latinLnBrk="1"/>
                      <a:r>
                        <a:rPr lang="ko-KR" altLang="en-US" sz="1200" dirty="0" smtClean="0"/>
                        <a:t>기관</a:t>
                      </a:r>
                      <a:endParaRPr lang="ko-KR" altLang="en-US" sz="1200"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전체 근로자</a:t>
                      </a:r>
                      <a:endParaRPr lang="ko-KR" alt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최저임금 이하 </a:t>
                      </a:r>
                      <a:endParaRPr lang="en-US" altLang="ko-KR" sz="1200" dirty="0" smtClean="0"/>
                    </a:p>
                    <a:p>
                      <a:pPr algn="ctr" latinLnBrk="1"/>
                      <a:r>
                        <a:rPr lang="ko-KR" altLang="en-US" sz="1200" dirty="0" smtClean="0"/>
                        <a:t>근로자</a:t>
                      </a:r>
                      <a:endParaRPr lang="ko-KR" alt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최저임금 적용제외</a:t>
                      </a:r>
                      <a:endParaRPr lang="en-US" altLang="ko-KR" sz="1200" dirty="0" smtClean="0"/>
                    </a:p>
                    <a:p>
                      <a:pPr algn="ctr" latinLnBrk="1"/>
                      <a:r>
                        <a:rPr lang="ko-KR" altLang="en-US" sz="1200" dirty="0" smtClean="0"/>
                        <a:t>승인 근로자</a:t>
                      </a:r>
                      <a:endParaRPr lang="ko-KR" altLang="en-US" sz="1200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4</a:t>
                      </a:r>
                      <a:r>
                        <a:rPr lang="ko-KR" altLang="en-US" sz="1200" dirty="0" err="1" smtClean="0"/>
                        <a:t>대보험가입</a:t>
                      </a:r>
                      <a:endParaRPr lang="en-US" altLang="ko-KR" sz="1200" dirty="0" smtClean="0"/>
                    </a:p>
                    <a:p>
                      <a:pPr algn="ctr" latinLnBrk="1"/>
                      <a:r>
                        <a:rPr lang="ko-KR" altLang="en-US" sz="1200" dirty="0" smtClean="0"/>
                        <a:t>장애인근로자</a:t>
                      </a:r>
                      <a:endParaRPr lang="ko-KR" altLang="en-US" sz="1200" dirty="0"/>
                    </a:p>
                  </a:txBody>
                  <a:tcPr anchor="ctr"/>
                </a:tc>
              </a:tr>
              <a:tr h="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/>
                        <a:t>비장애인</a:t>
                      </a:r>
                      <a:endParaRPr lang="ko-KR" alt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/>
                        <a:t>장애인</a:t>
                      </a:r>
                      <a:endParaRPr lang="ko-KR" alt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/>
                        <a:t>비장애인</a:t>
                      </a:r>
                      <a:endParaRPr lang="ko-KR" alt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/>
                        <a:t>장애인</a:t>
                      </a:r>
                      <a:endParaRPr lang="ko-KR" altLang="en-US" sz="1200" b="1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계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27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,222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4,828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33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,396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,146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4,441</a:t>
                      </a:r>
                      <a:endParaRPr lang="ko-KR" altLang="en-US" sz="1200" dirty="0"/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4</a:t>
                      </a:r>
                      <a:r>
                        <a:rPr lang="ko-KR" altLang="en-US" sz="1200" dirty="0" smtClean="0"/>
                        <a:t>년 신규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8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45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620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3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28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91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549</a:t>
                      </a:r>
                      <a:endParaRPr lang="ko-KR" altLang="en-US" sz="1200" dirty="0"/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기 지정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99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,077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4,208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30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,168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,955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3,892</a:t>
                      </a:r>
                      <a:endParaRPr lang="ko-KR" altLang="en-US" sz="12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9" name="직사각형 18"/>
          <p:cNvSpPr/>
          <p:nvPr/>
        </p:nvSpPr>
        <p:spPr>
          <a:xfrm>
            <a:off x="909601" y="3531358"/>
            <a:ext cx="5013269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중증장애인생산품 생산시설 근로 장애인 현황 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단위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: 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개소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1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745" y="3349082"/>
            <a:ext cx="471404" cy="485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864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116632"/>
            <a:ext cx="1224136" cy="289366"/>
          </a:xfrm>
          <a:prstGeom prst="rect">
            <a:avLst/>
          </a:prstGeom>
        </p:spPr>
      </p:pic>
      <p:grpSp>
        <p:nvGrpSpPr>
          <p:cNvPr id="3" name="그룹 2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4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6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7" name="TextBox 6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8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5" name="그림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10" name="TextBox 9"/>
          <p:cNvSpPr txBox="1"/>
          <p:nvPr/>
        </p:nvSpPr>
        <p:spPr>
          <a:xfrm>
            <a:off x="853302" y="633402"/>
            <a:ext cx="7895162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국노인인력개발원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 현 위상과 대국민 여론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38772" y="1228620"/>
            <a:ext cx="87977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한국노인인력개발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당장의 노인일자리 연구와 개발에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치중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상황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추적형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업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주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당장의 일자리 개발과 함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단기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단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간편한 일자리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발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실효성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사업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다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어르신 입장에서 삶의 궤적에 대한 소통과 공감이 부족한 일자리 개발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장 </a:t>
            </a:r>
            <a:r>
              <a:rPr lang="ko-KR" altLang="en-US" sz="1600" b="1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연계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업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와 관련부처의 노인일자리 사업내용을 자체 연구의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결과와 연계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자체 사업 강화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일자리 사업의 유형과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내용 등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통계도표식 보여주기에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집착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홍보형 사업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편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어르신을 대상으로 한 일자리 사업 연구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발 위탁기관의 종합청렴도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흡’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급 판정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3" name="오른쪽 화살표 12"/>
          <p:cNvSpPr/>
          <p:nvPr/>
        </p:nvSpPr>
        <p:spPr>
          <a:xfrm>
            <a:off x="6217914" y="141428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5868144" y="178194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6613985" y="213285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6480900" y="250364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5707990" y="287865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6606277" y="324401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직사각형 18"/>
          <p:cNvSpPr/>
          <p:nvPr/>
        </p:nvSpPr>
        <p:spPr>
          <a:xfrm>
            <a:off x="354688" y="3717032"/>
            <a:ext cx="8465784" cy="1909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0" name="Group 4"/>
          <p:cNvGrpSpPr/>
          <p:nvPr/>
        </p:nvGrpSpPr>
        <p:grpSpPr>
          <a:xfrm>
            <a:off x="567627" y="3966330"/>
            <a:ext cx="381000" cy="304800"/>
            <a:chOff x="990600" y="1905000"/>
            <a:chExt cx="381000" cy="3048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" name="Oval 3"/>
            <p:cNvSpPr/>
            <p:nvPr/>
          </p:nvSpPr>
          <p:spPr>
            <a:xfrm>
              <a:off x="990600" y="1905000"/>
              <a:ext cx="304800" cy="304800"/>
            </a:xfrm>
            <a:prstGeom prst="ellipse">
              <a:avLst/>
            </a:prstGeom>
            <a:noFill/>
            <a:ln>
              <a:solidFill>
                <a:srgbClr val="0D65A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2" name="Freeform 111"/>
            <p:cNvSpPr>
              <a:spLocks/>
            </p:cNvSpPr>
            <p:nvPr/>
          </p:nvSpPr>
          <p:spPr bwMode="auto">
            <a:xfrm>
              <a:off x="1057401" y="1905000"/>
              <a:ext cx="314199" cy="244713"/>
            </a:xfrm>
            <a:custGeom>
              <a:avLst/>
              <a:gdLst>
                <a:gd name="T0" fmla="*/ 0 w 516"/>
                <a:gd name="T1" fmla="*/ 233 h 406"/>
                <a:gd name="T2" fmla="*/ 110 w 516"/>
                <a:gd name="T3" fmla="*/ 406 h 406"/>
                <a:gd name="T4" fmla="*/ 516 w 516"/>
                <a:gd name="T5" fmla="*/ 0 h 406"/>
                <a:gd name="T6" fmla="*/ 133 w 516"/>
                <a:gd name="T7" fmla="*/ 284 h 406"/>
                <a:gd name="T8" fmla="*/ 0 w 516"/>
                <a:gd name="T9" fmla="*/ 233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6" h="406">
                  <a:moveTo>
                    <a:pt x="0" y="233"/>
                  </a:moveTo>
                  <a:lnTo>
                    <a:pt x="110" y="406"/>
                  </a:lnTo>
                  <a:lnTo>
                    <a:pt x="516" y="0"/>
                  </a:lnTo>
                  <a:lnTo>
                    <a:pt x="133" y="284"/>
                  </a:lnTo>
                  <a:lnTo>
                    <a:pt x="0" y="233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23" name="Group 36"/>
          <p:cNvGrpSpPr/>
          <p:nvPr/>
        </p:nvGrpSpPr>
        <p:grpSpPr>
          <a:xfrm>
            <a:off x="567593" y="4541666"/>
            <a:ext cx="381000" cy="304800"/>
            <a:chOff x="990600" y="1905000"/>
            <a:chExt cx="381000" cy="3048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" name="Oval 37"/>
            <p:cNvSpPr/>
            <p:nvPr/>
          </p:nvSpPr>
          <p:spPr>
            <a:xfrm>
              <a:off x="990600" y="1905000"/>
              <a:ext cx="304800" cy="304800"/>
            </a:xfrm>
            <a:prstGeom prst="ellipse">
              <a:avLst/>
            </a:prstGeom>
            <a:noFill/>
            <a:ln>
              <a:solidFill>
                <a:srgbClr val="CE20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5" name="Freeform 111"/>
            <p:cNvSpPr>
              <a:spLocks/>
            </p:cNvSpPr>
            <p:nvPr/>
          </p:nvSpPr>
          <p:spPr bwMode="auto">
            <a:xfrm>
              <a:off x="1057401" y="1905000"/>
              <a:ext cx="314199" cy="244713"/>
            </a:xfrm>
            <a:custGeom>
              <a:avLst/>
              <a:gdLst>
                <a:gd name="T0" fmla="*/ 0 w 516"/>
                <a:gd name="T1" fmla="*/ 233 h 406"/>
                <a:gd name="T2" fmla="*/ 110 w 516"/>
                <a:gd name="T3" fmla="*/ 406 h 406"/>
                <a:gd name="T4" fmla="*/ 516 w 516"/>
                <a:gd name="T5" fmla="*/ 0 h 406"/>
                <a:gd name="T6" fmla="*/ 133 w 516"/>
                <a:gd name="T7" fmla="*/ 284 h 406"/>
                <a:gd name="T8" fmla="*/ 0 w 516"/>
                <a:gd name="T9" fmla="*/ 233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6" h="406">
                  <a:moveTo>
                    <a:pt x="0" y="233"/>
                  </a:moveTo>
                  <a:lnTo>
                    <a:pt x="110" y="406"/>
                  </a:lnTo>
                  <a:lnTo>
                    <a:pt x="516" y="0"/>
                  </a:lnTo>
                  <a:lnTo>
                    <a:pt x="133" y="284"/>
                  </a:lnTo>
                  <a:lnTo>
                    <a:pt x="0" y="233"/>
                  </a:lnTo>
                  <a:close/>
                </a:path>
              </a:pathLst>
            </a:custGeom>
            <a:solidFill>
              <a:srgbClr val="CE202A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26" name="Group 50"/>
          <p:cNvGrpSpPr/>
          <p:nvPr/>
        </p:nvGrpSpPr>
        <p:grpSpPr>
          <a:xfrm>
            <a:off x="567593" y="5122361"/>
            <a:ext cx="381000" cy="304800"/>
            <a:chOff x="990600" y="1905000"/>
            <a:chExt cx="381000" cy="3048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7" name="Oval 52"/>
            <p:cNvSpPr/>
            <p:nvPr/>
          </p:nvSpPr>
          <p:spPr>
            <a:xfrm>
              <a:off x="990600" y="1905000"/>
              <a:ext cx="304800" cy="304800"/>
            </a:xfrm>
            <a:prstGeom prst="ellipse">
              <a:avLst/>
            </a:prstGeom>
            <a:noFill/>
            <a:ln>
              <a:solidFill>
                <a:srgbClr val="F0B71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8" name="Freeform 111"/>
            <p:cNvSpPr>
              <a:spLocks/>
            </p:cNvSpPr>
            <p:nvPr/>
          </p:nvSpPr>
          <p:spPr bwMode="auto">
            <a:xfrm>
              <a:off x="1057401" y="1905000"/>
              <a:ext cx="314199" cy="244713"/>
            </a:xfrm>
            <a:custGeom>
              <a:avLst/>
              <a:gdLst>
                <a:gd name="T0" fmla="*/ 0 w 516"/>
                <a:gd name="T1" fmla="*/ 233 h 406"/>
                <a:gd name="T2" fmla="*/ 110 w 516"/>
                <a:gd name="T3" fmla="*/ 406 h 406"/>
                <a:gd name="T4" fmla="*/ 516 w 516"/>
                <a:gd name="T5" fmla="*/ 0 h 406"/>
                <a:gd name="T6" fmla="*/ 133 w 516"/>
                <a:gd name="T7" fmla="*/ 284 h 406"/>
                <a:gd name="T8" fmla="*/ 0 w 516"/>
                <a:gd name="T9" fmla="*/ 233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6" h="406">
                  <a:moveTo>
                    <a:pt x="0" y="233"/>
                  </a:moveTo>
                  <a:lnTo>
                    <a:pt x="110" y="406"/>
                  </a:lnTo>
                  <a:lnTo>
                    <a:pt x="516" y="0"/>
                  </a:lnTo>
                  <a:lnTo>
                    <a:pt x="133" y="284"/>
                  </a:lnTo>
                  <a:lnTo>
                    <a:pt x="0" y="233"/>
                  </a:lnTo>
                  <a:close/>
                </a:path>
              </a:pathLst>
            </a:custGeom>
            <a:solidFill>
              <a:srgbClr val="F0B71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29" name="Group 9"/>
          <p:cNvGrpSpPr/>
          <p:nvPr/>
        </p:nvGrpSpPr>
        <p:grpSpPr>
          <a:xfrm>
            <a:off x="8103534" y="5056420"/>
            <a:ext cx="1080660" cy="839779"/>
            <a:chOff x="4929090" y="2803881"/>
            <a:chExt cx="3266866" cy="2538675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grpSp>
          <p:nvGrpSpPr>
            <p:cNvPr id="30" name="Group 46"/>
            <p:cNvGrpSpPr/>
            <p:nvPr/>
          </p:nvGrpSpPr>
          <p:grpSpPr>
            <a:xfrm rot="1365204">
              <a:off x="4929090" y="2838670"/>
              <a:ext cx="3266866" cy="2503886"/>
              <a:chOff x="625475" y="2439988"/>
              <a:chExt cx="482600" cy="369888"/>
            </a:xfrm>
            <a:solidFill>
              <a:srgbClr val="0D65AC"/>
            </a:solidFill>
            <a:effectLst/>
          </p:grpSpPr>
          <p:sp>
            <p:nvSpPr>
              <p:cNvPr id="32" name="Freeform 168"/>
              <p:cNvSpPr>
                <a:spLocks noEditPoints="1"/>
              </p:cNvSpPr>
              <p:nvPr/>
            </p:nvSpPr>
            <p:spPr bwMode="auto">
              <a:xfrm>
                <a:off x="625475" y="2439988"/>
                <a:ext cx="482600" cy="369888"/>
              </a:xfrm>
              <a:custGeom>
                <a:avLst/>
                <a:gdLst>
                  <a:gd name="T0" fmla="*/ 566 w 1519"/>
                  <a:gd name="T1" fmla="*/ 10 h 1165"/>
                  <a:gd name="T2" fmla="*/ 675 w 1519"/>
                  <a:gd name="T3" fmla="*/ 46 h 1165"/>
                  <a:gd name="T4" fmla="*/ 770 w 1519"/>
                  <a:gd name="T5" fmla="*/ 107 h 1165"/>
                  <a:gd name="T6" fmla="*/ 848 w 1519"/>
                  <a:gd name="T7" fmla="*/ 189 h 1165"/>
                  <a:gd name="T8" fmla="*/ 904 w 1519"/>
                  <a:gd name="T9" fmla="*/ 288 h 1165"/>
                  <a:gd name="T10" fmla="*/ 936 w 1519"/>
                  <a:gd name="T11" fmla="*/ 399 h 1165"/>
                  <a:gd name="T12" fmla="*/ 938 w 1519"/>
                  <a:gd name="T13" fmla="*/ 520 h 1165"/>
                  <a:gd name="T14" fmla="*/ 912 w 1519"/>
                  <a:gd name="T15" fmla="*/ 635 h 1165"/>
                  <a:gd name="T16" fmla="*/ 1503 w 1519"/>
                  <a:gd name="T17" fmla="*/ 1047 h 1165"/>
                  <a:gd name="T18" fmla="*/ 1518 w 1519"/>
                  <a:gd name="T19" fmla="*/ 1078 h 1165"/>
                  <a:gd name="T20" fmla="*/ 1517 w 1519"/>
                  <a:gd name="T21" fmla="*/ 1113 h 1165"/>
                  <a:gd name="T22" fmla="*/ 1498 w 1519"/>
                  <a:gd name="T23" fmla="*/ 1143 h 1165"/>
                  <a:gd name="T24" fmla="*/ 1469 w 1519"/>
                  <a:gd name="T25" fmla="*/ 1161 h 1165"/>
                  <a:gd name="T26" fmla="*/ 1435 w 1519"/>
                  <a:gd name="T27" fmla="*/ 1163 h 1165"/>
                  <a:gd name="T28" fmla="*/ 828 w 1519"/>
                  <a:gd name="T29" fmla="*/ 778 h 1165"/>
                  <a:gd name="T30" fmla="*/ 735 w 1519"/>
                  <a:gd name="T31" fmla="*/ 860 h 1165"/>
                  <a:gd name="T32" fmla="*/ 623 w 1519"/>
                  <a:gd name="T33" fmla="*/ 916 h 1165"/>
                  <a:gd name="T34" fmla="*/ 497 w 1519"/>
                  <a:gd name="T35" fmla="*/ 941 h 1165"/>
                  <a:gd name="T36" fmla="*/ 376 w 1519"/>
                  <a:gd name="T37" fmla="*/ 932 h 1165"/>
                  <a:gd name="T38" fmla="*/ 266 w 1519"/>
                  <a:gd name="T39" fmla="*/ 895 h 1165"/>
                  <a:gd name="T40" fmla="*/ 172 w 1519"/>
                  <a:gd name="T41" fmla="*/ 834 h 1165"/>
                  <a:gd name="T42" fmla="*/ 94 w 1519"/>
                  <a:gd name="T43" fmla="*/ 752 h 1165"/>
                  <a:gd name="T44" fmla="*/ 37 w 1519"/>
                  <a:gd name="T45" fmla="*/ 654 h 1165"/>
                  <a:gd name="T46" fmla="*/ 6 w 1519"/>
                  <a:gd name="T47" fmla="*/ 542 h 1165"/>
                  <a:gd name="T48" fmla="*/ 3 w 1519"/>
                  <a:gd name="T49" fmla="*/ 423 h 1165"/>
                  <a:gd name="T50" fmla="*/ 29 w 1519"/>
                  <a:gd name="T51" fmla="*/ 308 h 1165"/>
                  <a:gd name="T52" fmla="*/ 81 w 1519"/>
                  <a:gd name="T53" fmla="*/ 208 h 1165"/>
                  <a:gd name="T54" fmla="*/ 155 w 1519"/>
                  <a:gd name="T55" fmla="*/ 122 h 1165"/>
                  <a:gd name="T56" fmla="*/ 246 w 1519"/>
                  <a:gd name="T57" fmla="*/ 57 h 1165"/>
                  <a:gd name="T58" fmla="*/ 353 w 1519"/>
                  <a:gd name="T59" fmla="*/ 15 h 1165"/>
                  <a:gd name="T60" fmla="*/ 471 w 1519"/>
                  <a:gd name="T61" fmla="*/ 0 h 1165"/>
                  <a:gd name="T62" fmla="*/ 543 w 1519"/>
                  <a:gd name="T63" fmla="*/ 119 h 1165"/>
                  <a:gd name="T64" fmla="*/ 627 w 1519"/>
                  <a:gd name="T65" fmla="*/ 147 h 1165"/>
                  <a:gd name="T66" fmla="*/ 699 w 1519"/>
                  <a:gd name="T67" fmla="*/ 194 h 1165"/>
                  <a:gd name="T68" fmla="*/ 759 w 1519"/>
                  <a:gd name="T69" fmla="*/ 256 h 1165"/>
                  <a:gd name="T70" fmla="*/ 802 w 1519"/>
                  <a:gd name="T71" fmla="*/ 331 h 1165"/>
                  <a:gd name="T72" fmla="*/ 825 w 1519"/>
                  <a:gd name="T73" fmla="*/ 416 h 1165"/>
                  <a:gd name="T74" fmla="*/ 828 w 1519"/>
                  <a:gd name="T75" fmla="*/ 507 h 1165"/>
                  <a:gd name="T76" fmla="*/ 807 w 1519"/>
                  <a:gd name="T77" fmla="*/ 594 h 1165"/>
                  <a:gd name="T78" fmla="*/ 768 w 1519"/>
                  <a:gd name="T79" fmla="*/ 671 h 1165"/>
                  <a:gd name="T80" fmla="*/ 713 w 1519"/>
                  <a:gd name="T81" fmla="*/ 736 h 1165"/>
                  <a:gd name="T82" fmla="*/ 641 w 1519"/>
                  <a:gd name="T83" fmla="*/ 786 h 1165"/>
                  <a:gd name="T84" fmla="*/ 560 w 1519"/>
                  <a:gd name="T85" fmla="*/ 818 h 1165"/>
                  <a:gd name="T86" fmla="*/ 471 w 1519"/>
                  <a:gd name="T87" fmla="*/ 829 h 1165"/>
                  <a:gd name="T88" fmla="*/ 382 w 1519"/>
                  <a:gd name="T89" fmla="*/ 818 h 1165"/>
                  <a:gd name="T90" fmla="*/ 300 w 1519"/>
                  <a:gd name="T91" fmla="*/ 786 h 1165"/>
                  <a:gd name="T92" fmla="*/ 229 w 1519"/>
                  <a:gd name="T93" fmla="*/ 736 h 1165"/>
                  <a:gd name="T94" fmla="*/ 174 w 1519"/>
                  <a:gd name="T95" fmla="*/ 671 h 1165"/>
                  <a:gd name="T96" fmla="*/ 134 w 1519"/>
                  <a:gd name="T97" fmla="*/ 594 h 1165"/>
                  <a:gd name="T98" fmla="*/ 114 w 1519"/>
                  <a:gd name="T99" fmla="*/ 507 h 1165"/>
                  <a:gd name="T100" fmla="*/ 116 w 1519"/>
                  <a:gd name="T101" fmla="*/ 416 h 1165"/>
                  <a:gd name="T102" fmla="*/ 140 w 1519"/>
                  <a:gd name="T103" fmla="*/ 331 h 1165"/>
                  <a:gd name="T104" fmla="*/ 183 w 1519"/>
                  <a:gd name="T105" fmla="*/ 256 h 1165"/>
                  <a:gd name="T106" fmla="*/ 243 w 1519"/>
                  <a:gd name="T107" fmla="*/ 194 h 1165"/>
                  <a:gd name="T108" fmla="*/ 315 w 1519"/>
                  <a:gd name="T109" fmla="*/ 147 h 1165"/>
                  <a:gd name="T110" fmla="*/ 399 w 1519"/>
                  <a:gd name="T111" fmla="*/ 119 h 1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519" h="1165">
                    <a:moveTo>
                      <a:pt x="471" y="0"/>
                    </a:moveTo>
                    <a:lnTo>
                      <a:pt x="495" y="1"/>
                    </a:lnTo>
                    <a:lnTo>
                      <a:pt x="519" y="2"/>
                    </a:lnTo>
                    <a:lnTo>
                      <a:pt x="542" y="6"/>
                    </a:lnTo>
                    <a:lnTo>
                      <a:pt x="566" y="10"/>
                    </a:lnTo>
                    <a:lnTo>
                      <a:pt x="588" y="15"/>
                    </a:lnTo>
                    <a:lnTo>
                      <a:pt x="611" y="22"/>
                    </a:lnTo>
                    <a:lnTo>
                      <a:pt x="632" y="28"/>
                    </a:lnTo>
                    <a:lnTo>
                      <a:pt x="654" y="37"/>
                    </a:lnTo>
                    <a:lnTo>
                      <a:pt x="675" y="46"/>
                    </a:lnTo>
                    <a:lnTo>
                      <a:pt x="696" y="57"/>
                    </a:lnTo>
                    <a:lnTo>
                      <a:pt x="715" y="68"/>
                    </a:lnTo>
                    <a:lnTo>
                      <a:pt x="734" y="80"/>
                    </a:lnTo>
                    <a:lnTo>
                      <a:pt x="752" y="94"/>
                    </a:lnTo>
                    <a:lnTo>
                      <a:pt x="770" y="107"/>
                    </a:lnTo>
                    <a:lnTo>
                      <a:pt x="787" y="122"/>
                    </a:lnTo>
                    <a:lnTo>
                      <a:pt x="804" y="138"/>
                    </a:lnTo>
                    <a:lnTo>
                      <a:pt x="819" y="155"/>
                    </a:lnTo>
                    <a:lnTo>
                      <a:pt x="833" y="172"/>
                    </a:lnTo>
                    <a:lnTo>
                      <a:pt x="848" y="189"/>
                    </a:lnTo>
                    <a:lnTo>
                      <a:pt x="860" y="208"/>
                    </a:lnTo>
                    <a:lnTo>
                      <a:pt x="873" y="227"/>
                    </a:lnTo>
                    <a:lnTo>
                      <a:pt x="884" y="246"/>
                    </a:lnTo>
                    <a:lnTo>
                      <a:pt x="895" y="267"/>
                    </a:lnTo>
                    <a:lnTo>
                      <a:pt x="904" y="288"/>
                    </a:lnTo>
                    <a:lnTo>
                      <a:pt x="912" y="308"/>
                    </a:lnTo>
                    <a:lnTo>
                      <a:pt x="920" y="331"/>
                    </a:lnTo>
                    <a:lnTo>
                      <a:pt x="926" y="354"/>
                    </a:lnTo>
                    <a:lnTo>
                      <a:pt x="932" y="376"/>
                    </a:lnTo>
                    <a:lnTo>
                      <a:pt x="936" y="399"/>
                    </a:lnTo>
                    <a:lnTo>
                      <a:pt x="938" y="423"/>
                    </a:lnTo>
                    <a:lnTo>
                      <a:pt x="941" y="446"/>
                    </a:lnTo>
                    <a:lnTo>
                      <a:pt x="942" y="471"/>
                    </a:lnTo>
                    <a:lnTo>
                      <a:pt x="941" y="495"/>
                    </a:lnTo>
                    <a:lnTo>
                      <a:pt x="938" y="520"/>
                    </a:lnTo>
                    <a:lnTo>
                      <a:pt x="936" y="543"/>
                    </a:lnTo>
                    <a:lnTo>
                      <a:pt x="932" y="567"/>
                    </a:lnTo>
                    <a:lnTo>
                      <a:pt x="926" y="590"/>
                    </a:lnTo>
                    <a:lnTo>
                      <a:pt x="919" y="612"/>
                    </a:lnTo>
                    <a:lnTo>
                      <a:pt x="912" y="635"/>
                    </a:lnTo>
                    <a:lnTo>
                      <a:pt x="903" y="656"/>
                    </a:lnTo>
                    <a:lnTo>
                      <a:pt x="1486" y="1032"/>
                    </a:lnTo>
                    <a:lnTo>
                      <a:pt x="1492" y="1037"/>
                    </a:lnTo>
                    <a:lnTo>
                      <a:pt x="1497" y="1041"/>
                    </a:lnTo>
                    <a:lnTo>
                      <a:pt x="1503" y="1047"/>
                    </a:lnTo>
                    <a:lnTo>
                      <a:pt x="1506" y="1053"/>
                    </a:lnTo>
                    <a:lnTo>
                      <a:pt x="1511" y="1058"/>
                    </a:lnTo>
                    <a:lnTo>
                      <a:pt x="1513" y="1065"/>
                    </a:lnTo>
                    <a:lnTo>
                      <a:pt x="1515" y="1071"/>
                    </a:lnTo>
                    <a:lnTo>
                      <a:pt x="1518" y="1078"/>
                    </a:lnTo>
                    <a:lnTo>
                      <a:pt x="1519" y="1084"/>
                    </a:lnTo>
                    <a:lnTo>
                      <a:pt x="1519" y="1091"/>
                    </a:lnTo>
                    <a:lnTo>
                      <a:pt x="1519" y="1098"/>
                    </a:lnTo>
                    <a:lnTo>
                      <a:pt x="1518" y="1105"/>
                    </a:lnTo>
                    <a:lnTo>
                      <a:pt x="1517" y="1113"/>
                    </a:lnTo>
                    <a:lnTo>
                      <a:pt x="1514" y="1118"/>
                    </a:lnTo>
                    <a:lnTo>
                      <a:pt x="1512" y="1125"/>
                    </a:lnTo>
                    <a:lnTo>
                      <a:pt x="1507" y="1132"/>
                    </a:lnTo>
                    <a:lnTo>
                      <a:pt x="1504" y="1137"/>
                    </a:lnTo>
                    <a:lnTo>
                      <a:pt x="1498" y="1143"/>
                    </a:lnTo>
                    <a:lnTo>
                      <a:pt x="1494" y="1148"/>
                    </a:lnTo>
                    <a:lnTo>
                      <a:pt x="1488" y="1152"/>
                    </a:lnTo>
                    <a:lnTo>
                      <a:pt x="1483" y="1155"/>
                    </a:lnTo>
                    <a:lnTo>
                      <a:pt x="1476" y="1159"/>
                    </a:lnTo>
                    <a:lnTo>
                      <a:pt x="1469" y="1161"/>
                    </a:lnTo>
                    <a:lnTo>
                      <a:pt x="1462" y="1163"/>
                    </a:lnTo>
                    <a:lnTo>
                      <a:pt x="1456" y="1165"/>
                    </a:lnTo>
                    <a:lnTo>
                      <a:pt x="1449" y="1165"/>
                    </a:lnTo>
                    <a:lnTo>
                      <a:pt x="1442" y="1165"/>
                    </a:lnTo>
                    <a:lnTo>
                      <a:pt x="1435" y="1163"/>
                    </a:lnTo>
                    <a:lnTo>
                      <a:pt x="1428" y="1162"/>
                    </a:lnTo>
                    <a:lnTo>
                      <a:pt x="1422" y="1160"/>
                    </a:lnTo>
                    <a:lnTo>
                      <a:pt x="1415" y="1157"/>
                    </a:lnTo>
                    <a:lnTo>
                      <a:pt x="1409" y="1153"/>
                    </a:lnTo>
                    <a:lnTo>
                      <a:pt x="828" y="778"/>
                    </a:lnTo>
                    <a:lnTo>
                      <a:pt x="811" y="796"/>
                    </a:lnTo>
                    <a:lnTo>
                      <a:pt x="793" y="813"/>
                    </a:lnTo>
                    <a:lnTo>
                      <a:pt x="775" y="830"/>
                    </a:lnTo>
                    <a:lnTo>
                      <a:pt x="755" y="846"/>
                    </a:lnTo>
                    <a:lnTo>
                      <a:pt x="735" y="860"/>
                    </a:lnTo>
                    <a:lnTo>
                      <a:pt x="714" y="873"/>
                    </a:lnTo>
                    <a:lnTo>
                      <a:pt x="692" y="886"/>
                    </a:lnTo>
                    <a:lnTo>
                      <a:pt x="670" y="897"/>
                    </a:lnTo>
                    <a:lnTo>
                      <a:pt x="647" y="907"/>
                    </a:lnTo>
                    <a:lnTo>
                      <a:pt x="623" y="916"/>
                    </a:lnTo>
                    <a:lnTo>
                      <a:pt x="600" y="924"/>
                    </a:lnTo>
                    <a:lnTo>
                      <a:pt x="575" y="930"/>
                    </a:lnTo>
                    <a:lnTo>
                      <a:pt x="549" y="935"/>
                    </a:lnTo>
                    <a:lnTo>
                      <a:pt x="524" y="939"/>
                    </a:lnTo>
                    <a:lnTo>
                      <a:pt x="497" y="941"/>
                    </a:lnTo>
                    <a:lnTo>
                      <a:pt x="471" y="941"/>
                    </a:lnTo>
                    <a:lnTo>
                      <a:pt x="447" y="941"/>
                    </a:lnTo>
                    <a:lnTo>
                      <a:pt x="422" y="939"/>
                    </a:lnTo>
                    <a:lnTo>
                      <a:pt x="400" y="935"/>
                    </a:lnTo>
                    <a:lnTo>
                      <a:pt x="376" y="932"/>
                    </a:lnTo>
                    <a:lnTo>
                      <a:pt x="353" y="926"/>
                    </a:lnTo>
                    <a:lnTo>
                      <a:pt x="331" y="921"/>
                    </a:lnTo>
                    <a:lnTo>
                      <a:pt x="309" y="913"/>
                    </a:lnTo>
                    <a:lnTo>
                      <a:pt x="288" y="905"/>
                    </a:lnTo>
                    <a:lnTo>
                      <a:pt x="266" y="895"/>
                    </a:lnTo>
                    <a:lnTo>
                      <a:pt x="246" y="884"/>
                    </a:lnTo>
                    <a:lnTo>
                      <a:pt x="227" y="873"/>
                    </a:lnTo>
                    <a:lnTo>
                      <a:pt x="208" y="861"/>
                    </a:lnTo>
                    <a:lnTo>
                      <a:pt x="190" y="848"/>
                    </a:lnTo>
                    <a:lnTo>
                      <a:pt x="172" y="834"/>
                    </a:lnTo>
                    <a:lnTo>
                      <a:pt x="155" y="819"/>
                    </a:lnTo>
                    <a:lnTo>
                      <a:pt x="138" y="803"/>
                    </a:lnTo>
                    <a:lnTo>
                      <a:pt x="123" y="787"/>
                    </a:lnTo>
                    <a:lnTo>
                      <a:pt x="108" y="770"/>
                    </a:lnTo>
                    <a:lnTo>
                      <a:pt x="94" y="752"/>
                    </a:lnTo>
                    <a:lnTo>
                      <a:pt x="81" y="734"/>
                    </a:lnTo>
                    <a:lnTo>
                      <a:pt x="69" y="715"/>
                    </a:lnTo>
                    <a:lnTo>
                      <a:pt x="58" y="695"/>
                    </a:lnTo>
                    <a:lnTo>
                      <a:pt x="46" y="674"/>
                    </a:lnTo>
                    <a:lnTo>
                      <a:pt x="37" y="654"/>
                    </a:lnTo>
                    <a:lnTo>
                      <a:pt x="29" y="633"/>
                    </a:lnTo>
                    <a:lnTo>
                      <a:pt x="21" y="611"/>
                    </a:lnTo>
                    <a:lnTo>
                      <a:pt x="16" y="589"/>
                    </a:lnTo>
                    <a:lnTo>
                      <a:pt x="10" y="566"/>
                    </a:lnTo>
                    <a:lnTo>
                      <a:pt x="6" y="542"/>
                    </a:lnTo>
                    <a:lnTo>
                      <a:pt x="3" y="519"/>
                    </a:lnTo>
                    <a:lnTo>
                      <a:pt x="1" y="495"/>
                    </a:lnTo>
                    <a:lnTo>
                      <a:pt x="0" y="471"/>
                    </a:lnTo>
                    <a:lnTo>
                      <a:pt x="1" y="446"/>
                    </a:lnTo>
                    <a:lnTo>
                      <a:pt x="3" y="423"/>
                    </a:lnTo>
                    <a:lnTo>
                      <a:pt x="6" y="399"/>
                    </a:lnTo>
                    <a:lnTo>
                      <a:pt x="10" y="376"/>
                    </a:lnTo>
                    <a:lnTo>
                      <a:pt x="16" y="354"/>
                    </a:lnTo>
                    <a:lnTo>
                      <a:pt x="21" y="331"/>
                    </a:lnTo>
                    <a:lnTo>
                      <a:pt x="29" y="308"/>
                    </a:lnTo>
                    <a:lnTo>
                      <a:pt x="37" y="288"/>
                    </a:lnTo>
                    <a:lnTo>
                      <a:pt x="46" y="267"/>
                    </a:lnTo>
                    <a:lnTo>
                      <a:pt x="58" y="246"/>
                    </a:lnTo>
                    <a:lnTo>
                      <a:pt x="69" y="227"/>
                    </a:lnTo>
                    <a:lnTo>
                      <a:pt x="81" y="208"/>
                    </a:lnTo>
                    <a:lnTo>
                      <a:pt x="94" y="189"/>
                    </a:lnTo>
                    <a:lnTo>
                      <a:pt x="108" y="172"/>
                    </a:lnTo>
                    <a:lnTo>
                      <a:pt x="123" y="155"/>
                    </a:lnTo>
                    <a:lnTo>
                      <a:pt x="138" y="138"/>
                    </a:lnTo>
                    <a:lnTo>
                      <a:pt x="155" y="122"/>
                    </a:lnTo>
                    <a:lnTo>
                      <a:pt x="172" y="107"/>
                    </a:lnTo>
                    <a:lnTo>
                      <a:pt x="190" y="94"/>
                    </a:lnTo>
                    <a:lnTo>
                      <a:pt x="208" y="80"/>
                    </a:lnTo>
                    <a:lnTo>
                      <a:pt x="227" y="68"/>
                    </a:lnTo>
                    <a:lnTo>
                      <a:pt x="246" y="57"/>
                    </a:lnTo>
                    <a:lnTo>
                      <a:pt x="266" y="46"/>
                    </a:lnTo>
                    <a:lnTo>
                      <a:pt x="288" y="37"/>
                    </a:lnTo>
                    <a:lnTo>
                      <a:pt x="309" y="28"/>
                    </a:lnTo>
                    <a:lnTo>
                      <a:pt x="331" y="22"/>
                    </a:lnTo>
                    <a:lnTo>
                      <a:pt x="353" y="15"/>
                    </a:lnTo>
                    <a:lnTo>
                      <a:pt x="376" y="10"/>
                    </a:lnTo>
                    <a:lnTo>
                      <a:pt x="400" y="6"/>
                    </a:lnTo>
                    <a:lnTo>
                      <a:pt x="422" y="2"/>
                    </a:lnTo>
                    <a:lnTo>
                      <a:pt x="447" y="1"/>
                    </a:lnTo>
                    <a:lnTo>
                      <a:pt x="471" y="0"/>
                    </a:lnTo>
                    <a:close/>
                    <a:moveTo>
                      <a:pt x="471" y="112"/>
                    </a:moveTo>
                    <a:lnTo>
                      <a:pt x="489" y="112"/>
                    </a:lnTo>
                    <a:lnTo>
                      <a:pt x="507" y="114"/>
                    </a:lnTo>
                    <a:lnTo>
                      <a:pt x="525" y="116"/>
                    </a:lnTo>
                    <a:lnTo>
                      <a:pt x="543" y="119"/>
                    </a:lnTo>
                    <a:lnTo>
                      <a:pt x="560" y="123"/>
                    </a:lnTo>
                    <a:lnTo>
                      <a:pt x="577" y="128"/>
                    </a:lnTo>
                    <a:lnTo>
                      <a:pt x="594" y="133"/>
                    </a:lnTo>
                    <a:lnTo>
                      <a:pt x="611" y="140"/>
                    </a:lnTo>
                    <a:lnTo>
                      <a:pt x="627" y="147"/>
                    </a:lnTo>
                    <a:lnTo>
                      <a:pt x="641" y="155"/>
                    </a:lnTo>
                    <a:lnTo>
                      <a:pt x="657" y="164"/>
                    </a:lnTo>
                    <a:lnTo>
                      <a:pt x="672" y="173"/>
                    </a:lnTo>
                    <a:lnTo>
                      <a:pt x="685" y="183"/>
                    </a:lnTo>
                    <a:lnTo>
                      <a:pt x="699" y="194"/>
                    </a:lnTo>
                    <a:lnTo>
                      <a:pt x="713" y="206"/>
                    </a:lnTo>
                    <a:lnTo>
                      <a:pt x="725" y="217"/>
                    </a:lnTo>
                    <a:lnTo>
                      <a:pt x="736" y="229"/>
                    </a:lnTo>
                    <a:lnTo>
                      <a:pt x="748" y="243"/>
                    </a:lnTo>
                    <a:lnTo>
                      <a:pt x="759" y="256"/>
                    </a:lnTo>
                    <a:lnTo>
                      <a:pt x="768" y="270"/>
                    </a:lnTo>
                    <a:lnTo>
                      <a:pt x="778" y="285"/>
                    </a:lnTo>
                    <a:lnTo>
                      <a:pt x="786" y="299"/>
                    </a:lnTo>
                    <a:lnTo>
                      <a:pt x="794" y="315"/>
                    </a:lnTo>
                    <a:lnTo>
                      <a:pt x="802" y="331"/>
                    </a:lnTo>
                    <a:lnTo>
                      <a:pt x="807" y="347"/>
                    </a:lnTo>
                    <a:lnTo>
                      <a:pt x="813" y="364"/>
                    </a:lnTo>
                    <a:lnTo>
                      <a:pt x="819" y="381"/>
                    </a:lnTo>
                    <a:lnTo>
                      <a:pt x="822" y="399"/>
                    </a:lnTo>
                    <a:lnTo>
                      <a:pt x="825" y="416"/>
                    </a:lnTo>
                    <a:lnTo>
                      <a:pt x="828" y="434"/>
                    </a:lnTo>
                    <a:lnTo>
                      <a:pt x="829" y="452"/>
                    </a:lnTo>
                    <a:lnTo>
                      <a:pt x="830" y="471"/>
                    </a:lnTo>
                    <a:lnTo>
                      <a:pt x="829" y="489"/>
                    </a:lnTo>
                    <a:lnTo>
                      <a:pt x="828" y="507"/>
                    </a:lnTo>
                    <a:lnTo>
                      <a:pt x="825" y="525"/>
                    </a:lnTo>
                    <a:lnTo>
                      <a:pt x="822" y="543"/>
                    </a:lnTo>
                    <a:lnTo>
                      <a:pt x="819" y="560"/>
                    </a:lnTo>
                    <a:lnTo>
                      <a:pt x="813" y="577"/>
                    </a:lnTo>
                    <a:lnTo>
                      <a:pt x="807" y="594"/>
                    </a:lnTo>
                    <a:lnTo>
                      <a:pt x="802" y="610"/>
                    </a:lnTo>
                    <a:lnTo>
                      <a:pt x="794" y="626"/>
                    </a:lnTo>
                    <a:lnTo>
                      <a:pt x="786" y="642"/>
                    </a:lnTo>
                    <a:lnTo>
                      <a:pt x="778" y="656"/>
                    </a:lnTo>
                    <a:lnTo>
                      <a:pt x="768" y="671"/>
                    </a:lnTo>
                    <a:lnTo>
                      <a:pt x="759" y="686"/>
                    </a:lnTo>
                    <a:lnTo>
                      <a:pt x="748" y="699"/>
                    </a:lnTo>
                    <a:lnTo>
                      <a:pt x="736" y="712"/>
                    </a:lnTo>
                    <a:lnTo>
                      <a:pt x="725" y="724"/>
                    </a:lnTo>
                    <a:lnTo>
                      <a:pt x="713" y="736"/>
                    </a:lnTo>
                    <a:lnTo>
                      <a:pt x="699" y="748"/>
                    </a:lnTo>
                    <a:lnTo>
                      <a:pt x="685" y="758"/>
                    </a:lnTo>
                    <a:lnTo>
                      <a:pt x="672" y="768"/>
                    </a:lnTo>
                    <a:lnTo>
                      <a:pt x="657" y="777"/>
                    </a:lnTo>
                    <a:lnTo>
                      <a:pt x="641" y="786"/>
                    </a:lnTo>
                    <a:lnTo>
                      <a:pt x="627" y="794"/>
                    </a:lnTo>
                    <a:lnTo>
                      <a:pt x="611" y="801"/>
                    </a:lnTo>
                    <a:lnTo>
                      <a:pt x="594" y="808"/>
                    </a:lnTo>
                    <a:lnTo>
                      <a:pt x="577" y="813"/>
                    </a:lnTo>
                    <a:lnTo>
                      <a:pt x="560" y="818"/>
                    </a:lnTo>
                    <a:lnTo>
                      <a:pt x="543" y="822"/>
                    </a:lnTo>
                    <a:lnTo>
                      <a:pt x="525" y="826"/>
                    </a:lnTo>
                    <a:lnTo>
                      <a:pt x="507" y="828"/>
                    </a:lnTo>
                    <a:lnTo>
                      <a:pt x="489" y="829"/>
                    </a:lnTo>
                    <a:lnTo>
                      <a:pt x="471" y="829"/>
                    </a:lnTo>
                    <a:lnTo>
                      <a:pt x="453" y="829"/>
                    </a:lnTo>
                    <a:lnTo>
                      <a:pt x="434" y="828"/>
                    </a:lnTo>
                    <a:lnTo>
                      <a:pt x="417" y="826"/>
                    </a:lnTo>
                    <a:lnTo>
                      <a:pt x="399" y="822"/>
                    </a:lnTo>
                    <a:lnTo>
                      <a:pt x="382" y="818"/>
                    </a:lnTo>
                    <a:lnTo>
                      <a:pt x="365" y="813"/>
                    </a:lnTo>
                    <a:lnTo>
                      <a:pt x="348" y="808"/>
                    </a:lnTo>
                    <a:lnTo>
                      <a:pt x="331" y="801"/>
                    </a:lnTo>
                    <a:lnTo>
                      <a:pt x="315" y="794"/>
                    </a:lnTo>
                    <a:lnTo>
                      <a:pt x="300" y="786"/>
                    </a:lnTo>
                    <a:lnTo>
                      <a:pt x="285" y="777"/>
                    </a:lnTo>
                    <a:lnTo>
                      <a:pt x="270" y="768"/>
                    </a:lnTo>
                    <a:lnTo>
                      <a:pt x="256" y="758"/>
                    </a:lnTo>
                    <a:lnTo>
                      <a:pt x="243" y="748"/>
                    </a:lnTo>
                    <a:lnTo>
                      <a:pt x="229" y="736"/>
                    </a:lnTo>
                    <a:lnTo>
                      <a:pt x="217" y="724"/>
                    </a:lnTo>
                    <a:lnTo>
                      <a:pt x="206" y="712"/>
                    </a:lnTo>
                    <a:lnTo>
                      <a:pt x="194" y="699"/>
                    </a:lnTo>
                    <a:lnTo>
                      <a:pt x="183" y="686"/>
                    </a:lnTo>
                    <a:lnTo>
                      <a:pt x="174" y="671"/>
                    </a:lnTo>
                    <a:lnTo>
                      <a:pt x="164" y="656"/>
                    </a:lnTo>
                    <a:lnTo>
                      <a:pt x="156" y="642"/>
                    </a:lnTo>
                    <a:lnTo>
                      <a:pt x="148" y="626"/>
                    </a:lnTo>
                    <a:lnTo>
                      <a:pt x="140" y="610"/>
                    </a:lnTo>
                    <a:lnTo>
                      <a:pt x="134" y="594"/>
                    </a:lnTo>
                    <a:lnTo>
                      <a:pt x="129" y="577"/>
                    </a:lnTo>
                    <a:lnTo>
                      <a:pt x="123" y="560"/>
                    </a:lnTo>
                    <a:lnTo>
                      <a:pt x="120" y="543"/>
                    </a:lnTo>
                    <a:lnTo>
                      <a:pt x="116" y="525"/>
                    </a:lnTo>
                    <a:lnTo>
                      <a:pt x="114" y="507"/>
                    </a:lnTo>
                    <a:lnTo>
                      <a:pt x="113" y="489"/>
                    </a:lnTo>
                    <a:lnTo>
                      <a:pt x="112" y="471"/>
                    </a:lnTo>
                    <a:lnTo>
                      <a:pt x="113" y="452"/>
                    </a:lnTo>
                    <a:lnTo>
                      <a:pt x="114" y="434"/>
                    </a:lnTo>
                    <a:lnTo>
                      <a:pt x="116" y="416"/>
                    </a:lnTo>
                    <a:lnTo>
                      <a:pt x="120" y="399"/>
                    </a:lnTo>
                    <a:lnTo>
                      <a:pt x="123" y="381"/>
                    </a:lnTo>
                    <a:lnTo>
                      <a:pt x="129" y="364"/>
                    </a:lnTo>
                    <a:lnTo>
                      <a:pt x="134" y="347"/>
                    </a:lnTo>
                    <a:lnTo>
                      <a:pt x="140" y="331"/>
                    </a:lnTo>
                    <a:lnTo>
                      <a:pt x="148" y="315"/>
                    </a:lnTo>
                    <a:lnTo>
                      <a:pt x="156" y="299"/>
                    </a:lnTo>
                    <a:lnTo>
                      <a:pt x="164" y="285"/>
                    </a:lnTo>
                    <a:lnTo>
                      <a:pt x="174" y="270"/>
                    </a:lnTo>
                    <a:lnTo>
                      <a:pt x="183" y="256"/>
                    </a:lnTo>
                    <a:lnTo>
                      <a:pt x="194" y="243"/>
                    </a:lnTo>
                    <a:lnTo>
                      <a:pt x="206" y="229"/>
                    </a:lnTo>
                    <a:lnTo>
                      <a:pt x="217" y="217"/>
                    </a:lnTo>
                    <a:lnTo>
                      <a:pt x="229" y="206"/>
                    </a:lnTo>
                    <a:lnTo>
                      <a:pt x="243" y="194"/>
                    </a:lnTo>
                    <a:lnTo>
                      <a:pt x="256" y="183"/>
                    </a:lnTo>
                    <a:lnTo>
                      <a:pt x="270" y="173"/>
                    </a:lnTo>
                    <a:lnTo>
                      <a:pt x="285" y="164"/>
                    </a:lnTo>
                    <a:lnTo>
                      <a:pt x="300" y="155"/>
                    </a:lnTo>
                    <a:lnTo>
                      <a:pt x="315" y="147"/>
                    </a:lnTo>
                    <a:lnTo>
                      <a:pt x="331" y="140"/>
                    </a:lnTo>
                    <a:lnTo>
                      <a:pt x="348" y="133"/>
                    </a:lnTo>
                    <a:lnTo>
                      <a:pt x="365" y="128"/>
                    </a:lnTo>
                    <a:lnTo>
                      <a:pt x="382" y="123"/>
                    </a:lnTo>
                    <a:lnTo>
                      <a:pt x="399" y="119"/>
                    </a:lnTo>
                    <a:lnTo>
                      <a:pt x="417" y="116"/>
                    </a:lnTo>
                    <a:lnTo>
                      <a:pt x="434" y="114"/>
                    </a:lnTo>
                    <a:lnTo>
                      <a:pt x="453" y="112"/>
                    </a:lnTo>
                    <a:lnTo>
                      <a:pt x="471" y="112"/>
                    </a:lnTo>
                    <a:close/>
                  </a:path>
                </a:pathLst>
              </a:custGeom>
              <a:solidFill>
                <a:srgbClr val="0D65AC"/>
              </a:solidFill>
              <a:ln w="3175">
                <a:noFill/>
                <a:round/>
                <a:headEnd/>
                <a:tailEnd/>
              </a:ln>
              <a:effectLst>
                <a:innerShdw dist="38100" dir="5400000">
                  <a:prstClr val="black">
                    <a:alpha val="20000"/>
                  </a:prstClr>
                </a:innerShdw>
              </a:effectLst>
              <a:extLst/>
            </p:spPr>
            <p:txBody>
              <a:bodyPr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>
                  <a:latin typeface="+mj-lt"/>
                </a:endParaRPr>
              </a:p>
            </p:txBody>
          </p:sp>
          <p:sp>
            <p:nvSpPr>
              <p:cNvPr id="33" name="Freeform 171"/>
              <p:cNvSpPr>
                <a:spLocks/>
              </p:cNvSpPr>
              <p:nvPr/>
            </p:nvSpPr>
            <p:spPr bwMode="auto">
              <a:xfrm>
                <a:off x="677863" y="2493963"/>
                <a:ext cx="93663" cy="138113"/>
              </a:xfrm>
              <a:custGeom>
                <a:avLst/>
                <a:gdLst>
                  <a:gd name="T0" fmla="*/ 279 w 294"/>
                  <a:gd name="T1" fmla="*/ 0 h 433"/>
                  <a:gd name="T2" fmla="*/ 287 w 294"/>
                  <a:gd name="T3" fmla="*/ 22 h 433"/>
                  <a:gd name="T4" fmla="*/ 294 w 294"/>
                  <a:gd name="T5" fmla="*/ 44 h 433"/>
                  <a:gd name="T6" fmla="*/ 279 w 294"/>
                  <a:gd name="T7" fmla="*/ 44 h 433"/>
                  <a:gd name="T8" fmla="*/ 255 w 294"/>
                  <a:gd name="T9" fmla="*/ 46 h 433"/>
                  <a:gd name="T10" fmla="*/ 232 w 294"/>
                  <a:gd name="T11" fmla="*/ 49 h 433"/>
                  <a:gd name="T12" fmla="*/ 209 w 294"/>
                  <a:gd name="T13" fmla="*/ 55 h 433"/>
                  <a:gd name="T14" fmla="*/ 188 w 294"/>
                  <a:gd name="T15" fmla="*/ 63 h 433"/>
                  <a:gd name="T16" fmla="*/ 147 w 294"/>
                  <a:gd name="T17" fmla="*/ 85 h 433"/>
                  <a:gd name="T18" fmla="*/ 113 w 294"/>
                  <a:gd name="T19" fmla="*/ 113 h 433"/>
                  <a:gd name="T20" fmla="*/ 84 w 294"/>
                  <a:gd name="T21" fmla="*/ 148 h 433"/>
                  <a:gd name="T22" fmla="*/ 62 w 294"/>
                  <a:gd name="T23" fmla="*/ 188 h 433"/>
                  <a:gd name="T24" fmla="*/ 54 w 294"/>
                  <a:gd name="T25" fmla="*/ 209 h 433"/>
                  <a:gd name="T26" fmla="*/ 49 w 294"/>
                  <a:gd name="T27" fmla="*/ 232 h 433"/>
                  <a:gd name="T28" fmla="*/ 45 w 294"/>
                  <a:gd name="T29" fmla="*/ 256 h 433"/>
                  <a:gd name="T30" fmla="*/ 44 w 294"/>
                  <a:gd name="T31" fmla="*/ 279 h 433"/>
                  <a:gd name="T32" fmla="*/ 47 w 294"/>
                  <a:gd name="T33" fmla="*/ 319 h 433"/>
                  <a:gd name="T34" fmla="*/ 57 w 294"/>
                  <a:gd name="T35" fmla="*/ 355 h 433"/>
                  <a:gd name="T36" fmla="*/ 71 w 294"/>
                  <a:gd name="T37" fmla="*/ 390 h 433"/>
                  <a:gd name="T38" fmla="*/ 91 w 294"/>
                  <a:gd name="T39" fmla="*/ 421 h 433"/>
                  <a:gd name="T40" fmla="*/ 69 w 294"/>
                  <a:gd name="T41" fmla="*/ 427 h 433"/>
                  <a:gd name="T42" fmla="*/ 45 w 294"/>
                  <a:gd name="T43" fmla="*/ 433 h 433"/>
                  <a:gd name="T44" fmla="*/ 26 w 294"/>
                  <a:gd name="T45" fmla="*/ 398 h 433"/>
                  <a:gd name="T46" fmla="*/ 12 w 294"/>
                  <a:gd name="T47" fmla="*/ 361 h 433"/>
                  <a:gd name="T48" fmla="*/ 3 w 294"/>
                  <a:gd name="T49" fmla="*/ 321 h 433"/>
                  <a:gd name="T50" fmla="*/ 0 w 294"/>
                  <a:gd name="T51" fmla="*/ 279 h 433"/>
                  <a:gd name="T52" fmla="*/ 1 w 294"/>
                  <a:gd name="T53" fmla="*/ 251 h 433"/>
                  <a:gd name="T54" fmla="*/ 6 w 294"/>
                  <a:gd name="T55" fmla="*/ 223 h 433"/>
                  <a:gd name="T56" fmla="*/ 13 w 294"/>
                  <a:gd name="T57" fmla="*/ 197 h 433"/>
                  <a:gd name="T58" fmla="*/ 22 w 294"/>
                  <a:gd name="T59" fmla="*/ 171 h 433"/>
                  <a:gd name="T60" fmla="*/ 34 w 294"/>
                  <a:gd name="T61" fmla="*/ 146 h 433"/>
                  <a:gd name="T62" fmla="*/ 48 w 294"/>
                  <a:gd name="T63" fmla="*/ 124 h 433"/>
                  <a:gd name="T64" fmla="*/ 63 w 294"/>
                  <a:gd name="T65" fmla="*/ 102 h 433"/>
                  <a:gd name="T66" fmla="*/ 82 w 294"/>
                  <a:gd name="T67" fmla="*/ 82 h 433"/>
                  <a:gd name="T68" fmla="*/ 102 w 294"/>
                  <a:gd name="T69" fmla="*/ 65 h 433"/>
                  <a:gd name="T70" fmla="*/ 123 w 294"/>
                  <a:gd name="T71" fmla="*/ 48 h 433"/>
                  <a:gd name="T72" fmla="*/ 146 w 294"/>
                  <a:gd name="T73" fmla="*/ 34 h 433"/>
                  <a:gd name="T74" fmla="*/ 171 w 294"/>
                  <a:gd name="T75" fmla="*/ 23 h 433"/>
                  <a:gd name="T76" fmla="*/ 196 w 294"/>
                  <a:gd name="T77" fmla="*/ 13 h 433"/>
                  <a:gd name="T78" fmla="*/ 223 w 294"/>
                  <a:gd name="T79" fmla="*/ 6 h 433"/>
                  <a:gd name="T80" fmla="*/ 251 w 294"/>
                  <a:gd name="T81" fmla="*/ 2 h 433"/>
                  <a:gd name="T82" fmla="*/ 279 w 294"/>
                  <a:gd name="T83" fmla="*/ 0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94" h="433">
                    <a:moveTo>
                      <a:pt x="279" y="0"/>
                    </a:moveTo>
                    <a:lnTo>
                      <a:pt x="279" y="0"/>
                    </a:lnTo>
                    <a:lnTo>
                      <a:pt x="284" y="12"/>
                    </a:lnTo>
                    <a:lnTo>
                      <a:pt x="287" y="22"/>
                    </a:lnTo>
                    <a:lnTo>
                      <a:pt x="290" y="33"/>
                    </a:lnTo>
                    <a:lnTo>
                      <a:pt x="294" y="44"/>
                    </a:lnTo>
                    <a:lnTo>
                      <a:pt x="286" y="44"/>
                    </a:lnTo>
                    <a:lnTo>
                      <a:pt x="279" y="44"/>
                    </a:lnTo>
                    <a:lnTo>
                      <a:pt x="267" y="44"/>
                    </a:lnTo>
                    <a:lnTo>
                      <a:pt x="255" y="46"/>
                    </a:lnTo>
                    <a:lnTo>
                      <a:pt x="243" y="47"/>
                    </a:lnTo>
                    <a:lnTo>
                      <a:pt x="232" y="49"/>
                    </a:lnTo>
                    <a:lnTo>
                      <a:pt x="220" y="51"/>
                    </a:lnTo>
                    <a:lnTo>
                      <a:pt x="209" y="55"/>
                    </a:lnTo>
                    <a:lnTo>
                      <a:pt x="198" y="59"/>
                    </a:lnTo>
                    <a:lnTo>
                      <a:pt x="188" y="63"/>
                    </a:lnTo>
                    <a:lnTo>
                      <a:pt x="167" y="73"/>
                    </a:lnTo>
                    <a:lnTo>
                      <a:pt x="147" y="85"/>
                    </a:lnTo>
                    <a:lnTo>
                      <a:pt x="129" y="98"/>
                    </a:lnTo>
                    <a:lnTo>
                      <a:pt x="113" y="113"/>
                    </a:lnTo>
                    <a:lnTo>
                      <a:pt x="97" y="130"/>
                    </a:lnTo>
                    <a:lnTo>
                      <a:pt x="84" y="148"/>
                    </a:lnTo>
                    <a:lnTo>
                      <a:pt x="73" y="168"/>
                    </a:lnTo>
                    <a:lnTo>
                      <a:pt x="62" y="188"/>
                    </a:lnTo>
                    <a:lnTo>
                      <a:pt x="58" y="199"/>
                    </a:lnTo>
                    <a:lnTo>
                      <a:pt x="54" y="209"/>
                    </a:lnTo>
                    <a:lnTo>
                      <a:pt x="51" y="221"/>
                    </a:lnTo>
                    <a:lnTo>
                      <a:pt x="49" y="232"/>
                    </a:lnTo>
                    <a:lnTo>
                      <a:pt x="47" y="244"/>
                    </a:lnTo>
                    <a:lnTo>
                      <a:pt x="45" y="256"/>
                    </a:lnTo>
                    <a:lnTo>
                      <a:pt x="44" y="268"/>
                    </a:lnTo>
                    <a:lnTo>
                      <a:pt x="44" y="279"/>
                    </a:lnTo>
                    <a:lnTo>
                      <a:pt x="44" y="300"/>
                    </a:lnTo>
                    <a:lnTo>
                      <a:pt x="47" y="319"/>
                    </a:lnTo>
                    <a:lnTo>
                      <a:pt x="51" y="337"/>
                    </a:lnTo>
                    <a:lnTo>
                      <a:pt x="57" y="355"/>
                    </a:lnTo>
                    <a:lnTo>
                      <a:pt x="62" y="373"/>
                    </a:lnTo>
                    <a:lnTo>
                      <a:pt x="71" y="390"/>
                    </a:lnTo>
                    <a:lnTo>
                      <a:pt x="80" y="406"/>
                    </a:lnTo>
                    <a:lnTo>
                      <a:pt x="91" y="421"/>
                    </a:lnTo>
                    <a:lnTo>
                      <a:pt x="79" y="424"/>
                    </a:lnTo>
                    <a:lnTo>
                      <a:pt x="69" y="427"/>
                    </a:lnTo>
                    <a:lnTo>
                      <a:pt x="58" y="431"/>
                    </a:lnTo>
                    <a:lnTo>
                      <a:pt x="45" y="433"/>
                    </a:lnTo>
                    <a:lnTo>
                      <a:pt x="35" y="416"/>
                    </a:lnTo>
                    <a:lnTo>
                      <a:pt x="26" y="398"/>
                    </a:lnTo>
                    <a:lnTo>
                      <a:pt x="18" y="380"/>
                    </a:lnTo>
                    <a:lnTo>
                      <a:pt x="12" y="361"/>
                    </a:lnTo>
                    <a:lnTo>
                      <a:pt x="7" y="341"/>
                    </a:lnTo>
                    <a:lnTo>
                      <a:pt x="3" y="321"/>
                    </a:lnTo>
                    <a:lnTo>
                      <a:pt x="0" y="301"/>
                    </a:lnTo>
                    <a:lnTo>
                      <a:pt x="0" y="279"/>
                    </a:lnTo>
                    <a:lnTo>
                      <a:pt x="0" y="266"/>
                    </a:lnTo>
                    <a:lnTo>
                      <a:pt x="1" y="251"/>
                    </a:lnTo>
                    <a:lnTo>
                      <a:pt x="4" y="238"/>
                    </a:lnTo>
                    <a:lnTo>
                      <a:pt x="6" y="223"/>
                    </a:lnTo>
                    <a:lnTo>
                      <a:pt x="8" y="209"/>
                    </a:lnTo>
                    <a:lnTo>
                      <a:pt x="13" y="197"/>
                    </a:lnTo>
                    <a:lnTo>
                      <a:pt x="17" y="183"/>
                    </a:lnTo>
                    <a:lnTo>
                      <a:pt x="22" y="171"/>
                    </a:lnTo>
                    <a:lnTo>
                      <a:pt x="27" y="159"/>
                    </a:lnTo>
                    <a:lnTo>
                      <a:pt x="34" y="146"/>
                    </a:lnTo>
                    <a:lnTo>
                      <a:pt x="40" y="135"/>
                    </a:lnTo>
                    <a:lnTo>
                      <a:pt x="48" y="124"/>
                    </a:lnTo>
                    <a:lnTo>
                      <a:pt x="56" y="112"/>
                    </a:lnTo>
                    <a:lnTo>
                      <a:pt x="63" y="102"/>
                    </a:lnTo>
                    <a:lnTo>
                      <a:pt x="73" y="92"/>
                    </a:lnTo>
                    <a:lnTo>
                      <a:pt x="82" y="82"/>
                    </a:lnTo>
                    <a:lnTo>
                      <a:pt x="92" y="73"/>
                    </a:lnTo>
                    <a:lnTo>
                      <a:pt x="102" y="65"/>
                    </a:lnTo>
                    <a:lnTo>
                      <a:pt x="112" y="56"/>
                    </a:lnTo>
                    <a:lnTo>
                      <a:pt x="123" y="48"/>
                    </a:lnTo>
                    <a:lnTo>
                      <a:pt x="135" y="41"/>
                    </a:lnTo>
                    <a:lnTo>
                      <a:pt x="146" y="34"/>
                    </a:lnTo>
                    <a:lnTo>
                      <a:pt x="158" y="28"/>
                    </a:lnTo>
                    <a:lnTo>
                      <a:pt x="171" y="23"/>
                    </a:lnTo>
                    <a:lnTo>
                      <a:pt x="183" y="17"/>
                    </a:lnTo>
                    <a:lnTo>
                      <a:pt x="196" y="13"/>
                    </a:lnTo>
                    <a:lnTo>
                      <a:pt x="209" y="9"/>
                    </a:lnTo>
                    <a:lnTo>
                      <a:pt x="223" y="6"/>
                    </a:lnTo>
                    <a:lnTo>
                      <a:pt x="236" y="4"/>
                    </a:lnTo>
                    <a:lnTo>
                      <a:pt x="251" y="2"/>
                    </a:lnTo>
                    <a:lnTo>
                      <a:pt x="264" y="0"/>
                    </a:lnTo>
                    <a:lnTo>
                      <a:pt x="27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31" name="Oval 8"/>
            <p:cNvSpPr/>
            <p:nvPr/>
          </p:nvSpPr>
          <p:spPr>
            <a:xfrm>
              <a:off x="5259267" y="2803881"/>
              <a:ext cx="1641159" cy="1641159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1076618" y="3966330"/>
            <a:ext cx="70277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해외 선진 사례의 집중 연구를 통해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일자리와 일거리에 대한 개념 정리부터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</a:t>
            </a:r>
            <a:r>
              <a:rPr lang="ko-KR" altLang="en-US" sz="1400" dirty="0">
                <a:latin typeface="HY견고딕" panose="02030600000101010101" pitchFamily="18" charset="-127"/>
                <a:ea typeface="HY견고딕" panose="02030600000101010101" pitchFamily="18" charset="-127"/>
              </a:rPr>
              <a:t>완</a:t>
            </a:r>
            <a:endParaRPr lang="ko-KR" altLang="en-US" sz="1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076618" y="4556041"/>
            <a:ext cx="76718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일자리 공급자의 입장에서가 아닌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권역별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지역별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前職직업별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요기관별 일자리 개발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066374" y="5120872"/>
            <a:ext cx="70277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각계각층출신 어르신의 손길과 경험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경륜을 필요로 하는 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선순환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완형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일자리 개발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89787" y="5958311"/>
            <a:ext cx="829771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젊은 층 일자리 차지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」라는 부정적 인식 개선의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일자리 개발 확대</a:t>
            </a:r>
            <a:endParaRPr lang="ko-KR" altLang="en-US" sz="21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8" name="오른쪽 화살표 37"/>
          <p:cNvSpPr/>
          <p:nvPr/>
        </p:nvSpPr>
        <p:spPr>
          <a:xfrm>
            <a:off x="250654" y="607931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62058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116632"/>
            <a:ext cx="1224136" cy="289366"/>
          </a:xfrm>
          <a:prstGeom prst="rect">
            <a:avLst/>
          </a:prstGeom>
        </p:spPr>
      </p:pic>
      <p:grpSp>
        <p:nvGrpSpPr>
          <p:cNvPr id="3" name="그룹 2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4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6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7" name="TextBox 6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8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5" name="그림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10" name="TextBox 9"/>
          <p:cNvSpPr txBox="1"/>
          <p:nvPr/>
        </p:nvSpPr>
        <p:spPr>
          <a:xfrm>
            <a:off x="853302" y="633402"/>
            <a:ext cx="7895162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빈곤노인층 배려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미흡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부익부 빈익빈 일자리사업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지양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38772" y="1228620"/>
            <a:ext cx="8797724" cy="1823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5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 이상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빈곤율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지속 증가세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OECD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가 중 최고수준 </a:t>
            </a:r>
            <a:r>
              <a:rPr lang="ko-KR" altLang="en-US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‘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09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7.6%,‘11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8.5%,‘</a:t>
            </a:r>
            <a:r>
              <a:rPr lang="en-US" altLang="ko-KR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48%</a:t>
            </a:r>
            <a:r>
              <a:rPr lang="ko-KR" altLang="en-US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ko-KR" altLang="en-US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고령층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55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세∼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64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세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 경제활동참가율 지속 증가세 </a:t>
            </a:r>
            <a:r>
              <a:rPr lang="ko-KR" altLang="en-US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‘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08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1.8%,‘12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4.7%, 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근로희망자도 증가세</a:t>
            </a:r>
            <a:endParaRPr lang="ko-KR" altLang="en-US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은퇴 후 최소생계를 위한 필요 최소생활비 </a:t>
            </a:r>
            <a:r>
              <a:rPr lang="ko-KR" altLang="en-US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당 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3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원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부부의 경우 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37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원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2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연금공단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5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노인빈곤층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당 月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보수책정액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사회공헌 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익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근로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형 月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0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인턴</a:t>
            </a:r>
            <a:r>
              <a:rPr lang="en-US" altLang="ko-KR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경비</a:t>
            </a:r>
            <a:r>
              <a:rPr lang="en-US" altLang="ko-KR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b="1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파견형</a:t>
            </a:r>
            <a:r>
              <a:rPr lang="ko-KR" altLang="en-US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9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∼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9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원 </a:t>
            </a:r>
            <a:endParaRPr lang="ko-KR" altLang="en-US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상대적 부유층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공무원 연금수령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당 月평균 보수 </a:t>
            </a:r>
            <a:r>
              <a:rPr lang="ko-KR" altLang="en-US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시니어인턴 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13,079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원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/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직능클럽 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백</a:t>
            </a:r>
            <a:r>
              <a:rPr lang="en-US" altLang="ko-KR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69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원 지원 </a:t>
            </a:r>
            <a:endParaRPr lang="ko-KR" altLang="en-US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3" name="오른쪽 화살표 12"/>
          <p:cNvSpPr/>
          <p:nvPr/>
        </p:nvSpPr>
        <p:spPr>
          <a:xfrm>
            <a:off x="4965888" y="14070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4587486" y="173284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3962366" y="20752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3241069" y="242494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4691862" y="278092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TextBox 36"/>
          <p:cNvSpPr txBox="1"/>
          <p:nvPr/>
        </p:nvSpPr>
        <p:spPr>
          <a:xfrm>
            <a:off x="652025" y="5727478"/>
            <a:ext cx="82977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빈곤노인층 위한 일자리사업 집중과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노인일자리 최저생계비 </a:t>
            </a:r>
            <a:r>
              <a:rPr lang="ko-KR" altLang="en-US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장형</a:t>
            </a:r>
            <a:endParaRPr lang="en-US" altLang="ko-KR" sz="20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제도」 도입 추진</a:t>
            </a:r>
            <a:endParaRPr lang="ko-KR" altLang="en-US" sz="20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8" name="오른쪽 화살표 37"/>
          <p:cNvSpPr/>
          <p:nvPr/>
        </p:nvSpPr>
        <p:spPr>
          <a:xfrm>
            <a:off x="260327" y="590042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" name="차트 1"/>
          <p:cNvGraphicFramePr/>
          <p:nvPr>
            <p:extLst>
              <p:ext uri="{D42A27DB-BD31-4B8C-83A1-F6EECF244321}">
                <p14:modId xmlns:p14="http://schemas.microsoft.com/office/powerpoint/2010/main" val="3673958801"/>
              </p:ext>
            </p:extLst>
          </p:nvPr>
        </p:nvGraphicFramePr>
        <p:xfrm>
          <a:off x="503628" y="3284984"/>
          <a:ext cx="8126554" cy="2298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직사각형 15"/>
          <p:cNvSpPr/>
          <p:nvPr/>
        </p:nvSpPr>
        <p:spPr>
          <a:xfrm>
            <a:off x="880221" y="3717032"/>
            <a:ext cx="334322" cy="154421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098" name="Picture 2" descr="fla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317" y="4866602"/>
            <a:ext cx="461321" cy="3459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flag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1164" y="4875932"/>
            <a:ext cx="461321" cy="3459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flag">
            <a:hlinkClick r:id="rId9"/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6152" y="4869159"/>
            <a:ext cx="461321" cy="3459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flag">
            <a:hlinkClick r:id="rId11"/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1808" y="4869160"/>
            <a:ext cx="461321" cy="3459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flag">
            <a:hlinkClick r:id="rId13"/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729" y="4875931"/>
            <a:ext cx="461321" cy="3459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flag">
            <a:hlinkClick r:id="rId15"/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591" y="4866601"/>
            <a:ext cx="461321" cy="3459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flag">
            <a:hlinkClick r:id="rId17"/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3679" y="4866600"/>
            <a:ext cx="461321" cy="3459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2" name="Picture 16" descr="flag">
            <a:hlinkClick r:id="rId19"/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4878062"/>
            <a:ext cx="461321" cy="3459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4" name="Picture 18" descr="flag">
            <a:hlinkClick r:id="rId21"/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878062"/>
            <a:ext cx="461321" cy="3459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6" name="Picture 20" descr="flag">
            <a:hlinkClick r:id="rId23"/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1097" y="4869158"/>
            <a:ext cx="461321" cy="3459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4441269" y="3416018"/>
            <a:ext cx="41791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OECD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가 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노인빈곤률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2012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년 기준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단위 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: %)</a:t>
            </a:r>
            <a:endParaRPr lang="ko-KR" altLang="en-US" sz="1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333" y="3331811"/>
            <a:ext cx="431746" cy="47619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81016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116632"/>
            <a:ext cx="1224136" cy="289366"/>
          </a:xfrm>
          <a:prstGeom prst="rect">
            <a:avLst/>
          </a:prstGeom>
        </p:spPr>
      </p:pic>
      <p:grpSp>
        <p:nvGrpSpPr>
          <p:cNvPr id="3" name="그룹 2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4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6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7" name="TextBox 6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8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5" name="그림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10" name="TextBox 9"/>
          <p:cNvSpPr txBox="1"/>
          <p:nvPr/>
        </p:nvSpPr>
        <p:spPr>
          <a:xfrm>
            <a:off x="853302" y="633402"/>
            <a:ext cx="7895162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베이비부머세대</a:t>
            </a:r>
            <a:r>
              <a:rPr lang="ko-KR" altLang="en-US" sz="2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은퇴와 일자리 개발 점검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38772" y="1228620"/>
            <a:ext cx="87977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차 베이비붐 세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55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3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생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약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20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만명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14%),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준고령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5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4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준으론 약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,06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20.8%) </a:t>
            </a:r>
            <a:endParaRPr lang="ko-KR" altLang="en-US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향후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년內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차 베이비붐 세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65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75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생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927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명 은퇴시기 도래 중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자리 </a:t>
            </a:r>
            <a:r>
              <a:rPr lang="ko-KR" altLang="en-US" sz="1600" b="1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쓰나미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도래 중</a:t>
            </a:r>
            <a:endParaRPr lang="ko-KR" altLang="en-US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시혜성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施惠性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일자리 개발중심에서 수혜자 중심의 계층별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맞춤식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일자리 집중 개발로 전환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시급</a:t>
            </a:r>
            <a:endParaRPr lang="ko-KR" altLang="en-US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6588224" y="178025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TextBox 36"/>
          <p:cNvSpPr txBox="1"/>
          <p:nvPr/>
        </p:nvSpPr>
        <p:spPr>
          <a:xfrm>
            <a:off x="666772" y="6125483"/>
            <a:ext cx="829771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1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베이비부머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세대의 희망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일자리 및 재취업 수요조사 연구 등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촉진</a:t>
            </a:r>
            <a:endParaRPr lang="ko-KR" altLang="en-US" sz="21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8" name="오른쪽 화살표 37"/>
          <p:cNvSpPr/>
          <p:nvPr/>
        </p:nvSpPr>
        <p:spPr>
          <a:xfrm>
            <a:off x="251121" y="624648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직사각형 1"/>
          <p:cNvSpPr/>
          <p:nvPr/>
        </p:nvSpPr>
        <p:spPr>
          <a:xfrm>
            <a:off x="1166787" y="2757451"/>
            <a:ext cx="4158208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300" spc="-150" dirty="0">
                <a:latin typeface="HY견고딕" panose="02030600000101010101" pitchFamily="18" charset="-127"/>
                <a:ea typeface="HY견고딕" panose="02030600000101010101" pitchFamily="18" charset="-127"/>
              </a:rPr>
              <a:t>현재 </a:t>
            </a:r>
            <a:r>
              <a:rPr lang="ko-KR" altLang="en-US" sz="13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구</a:t>
            </a:r>
            <a:r>
              <a:rPr lang="en-US" altLang="ko-KR" sz="1300" spc="-150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3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발하여 </a:t>
            </a:r>
            <a:r>
              <a:rPr lang="ko-KR" altLang="en-US" sz="1300" spc="-150" dirty="0">
                <a:latin typeface="HY견고딕" panose="02030600000101010101" pitchFamily="18" charset="-127"/>
                <a:ea typeface="HY견고딕" panose="02030600000101010101" pitchFamily="18" charset="-127"/>
              </a:rPr>
              <a:t>시행 중인</a:t>
            </a:r>
            <a:r>
              <a:rPr lang="ko-KR" altLang="en-US" sz="1300" b="1" spc="-15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300" spc="-150" dirty="0">
                <a:latin typeface="HY견고딕" panose="02030600000101010101" pitchFamily="18" charset="-127"/>
                <a:ea typeface="HY견고딕" panose="02030600000101010101" pitchFamily="18" charset="-127"/>
              </a:rPr>
              <a:t>노인일자리사업 현황</a:t>
            </a:r>
            <a:endParaRPr lang="ko-KR" altLang="en-US" sz="13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aphicFrame>
        <p:nvGraphicFramePr>
          <p:cNvPr id="39" name="표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4128508"/>
              </p:ext>
            </p:extLst>
          </p:nvPr>
        </p:nvGraphicFramePr>
        <p:xfrm>
          <a:off x="376023" y="3170124"/>
          <a:ext cx="8290984" cy="2834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2193"/>
                <a:gridCol w="1584176"/>
                <a:gridCol w="2736304"/>
                <a:gridCol w="2808311"/>
              </a:tblGrid>
              <a:tr h="142477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구 분</a:t>
                      </a:r>
                      <a:endParaRPr lang="ko-KR" alt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개요 및 유형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주요 사례</a:t>
                      </a:r>
                      <a:endParaRPr lang="ko-KR" altLang="en-US" sz="1200" dirty="0"/>
                    </a:p>
                  </a:txBody>
                  <a:tcPr anchor="ctr"/>
                </a:tc>
              </a:tr>
              <a:tr h="23746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재정지원</a:t>
                      </a:r>
                      <a:endParaRPr lang="en-US" altLang="ko-KR" sz="1200" dirty="0" smtClean="0"/>
                    </a:p>
                    <a:p>
                      <a:pPr algn="ctr" latinLnBrk="1"/>
                      <a:r>
                        <a:rPr lang="ko-KR" altLang="en-US" sz="1200" dirty="0" smtClean="0"/>
                        <a:t>일자리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/>
                        <a:t>사회공헌형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/>
                        <a:t>공익형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smtClean="0"/>
                        <a:t>교육형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smtClean="0"/>
                        <a:t>복지형</a:t>
                      </a:r>
                      <a:endParaRPr lang="en-US" altLang="ko-KR" sz="1200" dirty="0" smtClean="0"/>
                    </a:p>
                    <a:p>
                      <a:pPr algn="ctr" latinLnBrk="1"/>
                      <a:r>
                        <a:rPr lang="en-US" altLang="ko-KR" sz="1200" dirty="0" smtClean="0"/>
                        <a:t>(1</a:t>
                      </a:r>
                      <a:r>
                        <a:rPr lang="ko-KR" altLang="en-US" sz="1200" dirty="0" smtClean="0"/>
                        <a:t>인당 月</a:t>
                      </a:r>
                      <a:r>
                        <a:rPr lang="en-US" altLang="ko-KR" sz="1200" dirty="0" smtClean="0"/>
                        <a:t>20</a:t>
                      </a:r>
                      <a:r>
                        <a:rPr lang="ko-KR" altLang="en-US" sz="1200" dirty="0" smtClean="0"/>
                        <a:t>만원 지원</a:t>
                      </a:r>
                      <a:r>
                        <a:rPr lang="en-US" altLang="ko-KR" sz="1200" dirty="0" smtClean="0"/>
                        <a:t>)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 smtClean="0"/>
                        <a:t>▶ 급식도우미</a:t>
                      </a:r>
                      <a:r>
                        <a:rPr lang="en-US" altLang="ko-KR" sz="1200" dirty="0" smtClean="0"/>
                        <a:t>, CCTV </a:t>
                      </a:r>
                      <a:r>
                        <a:rPr lang="ko-KR" altLang="en-US" sz="1200" dirty="0" err="1" smtClean="0"/>
                        <a:t>상시관제</a:t>
                      </a:r>
                      <a:r>
                        <a:rPr lang="en-US" altLang="ko-KR" sz="1200" dirty="0" smtClean="0"/>
                        <a:t>, </a:t>
                      </a:r>
                    </a:p>
                    <a:p>
                      <a:pPr algn="l" latinLnBrk="1"/>
                      <a:r>
                        <a:rPr lang="en-US" altLang="ko-KR" sz="1200" dirty="0" smtClean="0"/>
                        <a:t>    </a:t>
                      </a:r>
                      <a:r>
                        <a:rPr lang="ko-KR" altLang="en-US" sz="1200" dirty="0" smtClean="0"/>
                        <a:t>노</a:t>
                      </a:r>
                      <a:r>
                        <a:rPr lang="en-US" altLang="ko-KR" sz="1200" dirty="0" smtClean="0"/>
                        <a:t>-</a:t>
                      </a:r>
                      <a:r>
                        <a:rPr lang="ko-KR" altLang="en-US" sz="1200" dirty="0" err="1" smtClean="0"/>
                        <a:t>노케어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smtClean="0"/>
                        <a:t>보육도우미</a:t>
                      </a:r>
                      <a:endParaRPr lang="en-US" altLang="ko-KR" sz="1200" dirty="0" smtClean="0"/>
                    </a:p>
                  </a:txBody>
                  <a:tcPr anchor="ctr"/>
                </a:tc>
              </a:tr>
              <a:tr h="23746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/>
                        <a:t>시장진입형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/>
                        <a:t>공동작업형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err="1" smtClean="0"/>
                        <a:t>제조판매형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err="1" smtClean="0"/>
                        <a:t>인력파견형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 smtClean="0"/>
                        <a:t>▶ 생필품 제조판매</a:t>
                      </a:r>
                      <a:r>
                        <a:rPr lang="en-US" altLang="ko-KR" sz="1200" dirty="0" smtClean="0"/>
                        <a:t>,</a:t>
                      </a:r>
                      <a:r>
                        <a:rPr lang="en-US" altLang="ko-KR" sz="1200" baseline="0" dirty="0" smtClean="0"/>
                        <a:t> </a:t>
                      </a:r>
                      <a:r>
                        <a:rPr lang="ko-KR" altLang="en-US" sz="1200" baseline="0" dirty="0" smtClean="0"/>
                        <a:t>아파트택배</a:t>
                      </a:r>
                      <a:r>
                        <a:rPr lang="en-US" altLang="ko-KR" sz="1200" baseline="0" dirty="0" smtClean="0"/>
                        <a:t>, </a:t>
                      </a:r>
                    </a:p>
                    <a:p>
                      <a:pPr algn="l" latinLnBrk="1"/>
                      <a:r>
                        <a:rPr lang="en-US" altLang="ko-KR" sz="1200" baseline="0" dirty="0" smtClean="0"/>
                        <a:t>    </a:t>
                      </a:r>
                      <a:r>
                        <a:rPr lang="ko-KR" altLang="en-US" sz="1200" baseline="0" dirty="0" smtClean="0"/>
                        <a:t>시험감독관</a:t>
                      </a:r>
                      <a:r>
                        <a:rPr lang="en-US" altLang="ko-KR" sz="1200" baseline="0" dirty="0" smtClean="0"/>
                        <a:t>, </a:t>
                      </a:r>
                      <a:r>
                        <a:rPr lang="ko-KR" altLang="en-US" sz="1200" baseline="0" dirty="0" err="1" smtClean="0"/>
                        <a:t>주유원</a:t>
                      </a:r>
                      <a:endParaRPr lang="ko-KR" altLang="en-US" sz="1200" dirty="0"/>
                    </a:p>
                  </a:txBody>
                  <a:tcPr anchor="ctr"/>
                </a:tc>
              </a:tr>
              <a:tr h="142477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시장자립형</a:t>
                      </a:r>
                      <a:endParaRPr lang="en-US" altLang="ko-KR" sz="1200" dirty="0" smtClean="0"/>
                    </a:p>
                    <a:p>
                      <a:pPr algn="ctr" latinLnBrk="1"/>
                      <a:r>
                        <a:rPr lang="ko-KR" altLang="en-US" sz="1200" dirty="0" smtClean="0"/>
                        <a:t>일자리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시니어 </a:t>
                      </a:r>
                      <a:r>
                        <a:rPr lang="ko-KR" altLang="en-US" sz="1200" dirty="0" err="1" smtClean="0"/>
                        <a:t>인턴십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기업 </a:t>
                      </a:r>
                      <a:r>
                        <a:rPr lang="ko-KR" altLang="en-US" sz="1200" dirty="0" err="1" smtClean="0"/>
                        <a:t>인턴형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smtClean="0"/>
                        <a:t>연수형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 smtClean="0"/>
                        <a:t>▶ 편의점 캐셔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err="1" smtClean="0"/>
                        <a:t>호텔리어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smtClean="0"/>
                        <a:t>제조기업</a:t>
                      </a:r>
                      <a:endParaRPr lang="ko-KR" altLang="en-US" sz="1200" dirty="0"/>
                    </a:p>
                  </a:txBody>
                  <a:tcPr anchor="ctr"/>
                </a:tc>
              </a:tr>
              <a:tr h="23746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고령자 친화기업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근로자 대다수를 고령자로 채용하는</a:t>
                      </a:r>
                      <a:endParaRPr lang="en-US" altLang="ko-KR" sz="1200" dirty="0" smtClean="0"/>
                    </a:p>
                    <a:p>
                      <a:pPr algn="ctr" latinLnBrk="1"/>
                      <a:r>
                        <a:rPr lang="ko-KR" altLang="en-US" sz="1200" dirty="0" smtClean="0"/>
                        <a:t> 기업 설립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 smtClean="0"/>
                        <a:t>▶ 통합물류택배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smtClean="0"/>
                        <a:t>전통부각 제조판매</a:t>
                      </a:r>
                      <a:endParaRPr lang="ko-KR" altLang="en-US" sz="1200" dirty="0"/>
                    </a:p>
                  </a:txBody>
                  <a:tcPr anchor="ctr"/>
                </a:tc>
              </a:tr>
              <a:tr h="23746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시니어 직능클럽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전문경력 퇴직자 자조조직</a:t>
                      </a:r>
                      <a:r>
                        <a:rPr lang="en-US" altLang="ko-KR" sz="1200" dirty="0" smtClean="0"/>
                        <a:t>, </a:t>
                      </a:r>
                    </a:p>
                    <a:p>
                      <a:pPr algn="ctr" latinLnBrk="1"/>
                      <a:r>
                        <a:rPr lang="ko-KR" altLang="en-US" sz="1200" dirty="0" smtClean="0"/>
                        <a:t>일자리 또는 재능기부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 smtClean="0"/>
                        <a:t>▶ </a:t>
                      </a:r>
                      <a:r>
                        <a:rPr lang="ko-KR" altLang="en-US" sz="1200" dirty="0" err="1" smtClean="0"/>
                        <a:t>지적공사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smtClean="0"/>
                        <a:t>심평원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err="1" smtClean="0"/>
                        <a:t>한국감정원</a:t>
                      </a:r>
                      <a:r>
                        <a:rPr lang="ko-KR" altLang="en-US" sz="1200" dirty="0" smtClean="0"/>
                        <a:t> </a:t>
                      </a:r>
                      <a:endParaRPr lang="en-US" altLang="ko-KR" sz="1200" dirty="0" smtClean="0"/>
                    </a:p>
                    <a:p>
                      <a:pPr algn="l" latinLnBrk="1"/>
                      <a:r>
                        <a:rPr lang="en-US" altLang="ko-KR" sz="1200" dirty="0" smtClean="0"/>
                        <a:t>    </a:t>
                      </a:r>
                      <a:r>
                        <a:rPr lang="ko-KR" altLang="en-US" sz="1200" dirty="0" smtClean="0"/>
                        <a:t>시니어직능클럽 등</a:t>
                      </a:r>
                      <a:endParaRPr lang="ko-KR" altLang="en-US" sz="1200" dirty="0"/>
                    </a:p>
                  </a:txBody>
                  <a:tcPr anchor="ctr"/>
                </a:tc>
              </a:tr>
              <a:tr h="23746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/>
                        <a:t>재능나눔</a:t>
                      </a:r>
                      <a:r>
                        <a:rPr lang="ko-KR" altLang="en-US" sz="1200" dirty="0" smtClean="0"/>
                        <a:t> 활동지원 시범사업</a:t>
                      </a:r>
                      <a:endParaRPr lang="ko-KR" alt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/>
                        <a:t>생활재능나눔활동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err="1" smtClean="0"/>
                        <a:t>전문재능나눔활동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 smtClean="0"/>
                        <a:t>▶ 노인사기예방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smtClean="0"/>
                        <a:t>국제구호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smtClean="0"/>
                        <a:t>평생강사</a:t>
                      </a:r>
                      <a:r>
                        <a:rPr lang="en-US" altLang="ko-KR" sz="1200" dirty="0" smtClean="0"/>
                        <a:t>, </a:t>
                      </a:r>
                    </a:p>
                    <a:p>
                      <a:pPr algn="l" latinLnBrk="1"/>
                      <a:r>
                        <a:rPr lang="en-US" altLang="ko-KR" sz="1200" dirty="0" smtClean="0"/>
                        <a:t>    </a:t>
                      </a:r>
                      <a:r>
                        <a:rPr lang="ko-KR" altLang="en-US" sz="1200" dirty="0" smtClean="0"/>
                        <a:t>퇴직소방관 기술전수</a:t>
                      </a:r>
                      <a:endParaRPr lang="ko-KR" altLang="en-US" sz="120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40" name="그림 3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688" y="2428949"/>
            <a:ext cx="869543" cy="758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56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53302" y="633402"/>
            <a:ext cx="7895162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의료 교육시스템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강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화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및 전문인력 신분불안정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선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9286" y="1228620"/>
            <a:ext cx="86472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정책사업 및 출연교육사업의 급격한 증가세 지속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장기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재양성 종합계획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흡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인력구조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현원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57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정규직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5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67%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으로 운용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年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80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 과정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총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여 명 교육 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정규직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전문인력의 고용불안에 따른 퇴직 빈번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등 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교육사업의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질적 성과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실적 부실 초래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838901" y="5628086"/>
            <a:ext cx="8107785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가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차원의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복지 인재양성 중장기전략 수립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과 </a:t>
            </a:r>
            <a:endParaRPr lang="en-US" altLang="ko-KR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한국보건복지인력개발원 차원의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교육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책개발 역량 강화</a:t>
            </a:r>
            <a:endParaRPr lang="ko-KR" altLang="en-US" sz="23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6" name="오른쪽 화살표 25"/>
          <p:cNvSpPr/>
          <p:nvPr/>
        </p:nvSpPr>
        <p:spPr>
          <a:xfrm>
            <a:off x="435890" y="580947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46" name="오른쪽 화살표 45"/>
          <p:cNvSpPr/>
          <p:nvPr/>
        </p:nvSpPr>
        <p:spPr>
          <a:xfrm>
            <a:off x="5364088" y="141277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6" name="그림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5" y="107271"/>
            <a:ext cx="1440160" cy="275554"/>
          </a:xfrm>
          <a:prstGeom prst="rect">
            <a:avLst/>
          </a:prstGeom>
        </p:spPr>
      </p:pic>
      <p:sp>
        <p:nvSpPr>
          <p:cNvPr id="17" name="오른쪽 화살표 16"/>
          <p:cNvSpPr/>
          <p:nvPr/>
        </p:nvSpPr>
        <p:spPr>
          <a:xfrm>
            <a:off x="5256076" y="176367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5256076" y="213285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2466143"/>
              </p:ext>
            </p:extLst>
          </p:nvPr>
        </p:nvGraphicFramePr>
        <p:xfrm>
          <a:off x="556591" y="3145324"/>
          <a:ext cx="8077220" cy="22250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807722"/>
                <a:gridCol w="807722"/>
                <a:gridCol w="807722"/>
                <a:gridCol w="807722"/>
                <a:gridCol w="807722"/>
                <a:gridCol w="807722"/>
                <a:gridCol w="807722"/>
                <a:gridCol w="807722"/>
                <a:gridCol w="807722"/>
                <a:gridCol w="807722"/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/>
                        <a:t>구분</a:t>
                      </a:r>
                      <a:endParaRPr lang="ko-KR" altLang="en-US" sz="1200" b="1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/>
                        <a:t>     한국보건복지인력개발원</a:t>
                      </a:r>
                      <a:endParaRPr lang="ko-KR" altLang="en-US" sz="120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/>
                        <a:t>       중앙공무원교육원</a:t>
                      </a:r>
                      <a:endParaRPr lang="ko-KR" altLang="en-US" sz="120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/>
                        <a:t>      지방행정연수원</a:t>
                      </a:r>
                      <a:endParaRPr lang="ko-KR" altLang="en-US" sz="120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/>
                        <a:t>정원</a:t>
                      </a:r>
                      <a:endParaRPr lang="ko-KR" altLang="en-US" sz="1200" b="1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/>
                        <a:t>60</a:t>
                      </a:r>
                      <a:r>
                        <a:rPr lang="ko-KR" altLang="en-US" sz="1200" b="1" dirty="0" smtClean="0"/>
                        <a:t>명</a:t>
                      </a:r>
                      <a:endParaRPr lang="ko-KR" altLang="en-US" sz="120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/>
                        <a:t>145</a:t>
                      </a:r>
                      <a:r>
                        <a:rPr lang="ko-KR" altLang="en-US" sz="1200" b="1" dirty="0" smtClean="0"/>
                        <a:t>명</a:t>
                      </a:r>
                      <a:endParaRPr lang="ko-KR" altLang="en-US" sz="120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/>
                        <a:t>94</a:t>
                      </a:r>
                      <a:r>
                        <a:rPr lang="ko-KR" altLang="en-US" sz="1200" b="1" dirty="0" smtClean="0"/>
                        <a:t>명</a:t>
                      </a:r>
                      <a:endParaRPr lang="ko-KR" altLang="en-US" sz="120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교육사업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과정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횟수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교육인원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과정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횟수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교육인원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과정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횟수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교육인원</a:t>
                      </a:r>
                      <a:endParaRPr lang="ko-KR" altLang="en-US" sz="12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총계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480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,661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21,000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41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364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11,500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92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,301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66,500</a:t>
                      </a:r>
                      <a:endParaRPr lang="ko-KR" altLang="en-US" sz="12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집합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373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,267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45,000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53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36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8,330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72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01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6,500</a:t>
                      </a:r>
                      <a:endParaRPr lang="ko-KR" altLang="en-US" sz="12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사이버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07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394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76,000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88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28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03,170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20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,200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60,000</a:t>
                      </a:r>
                      <a:endParaRPr lang="ko-KR" altLang="en-US" sz="12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35890" y="2785284"/>
            <a:ext cx="422297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부 주요기관별 교육사업 및 인력구조 현황</a:t>
            </a:r>
            <a:r>
              <a:rPr lang="en-US" altLang="ko-KR" sz="1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endParaRPr lang="ko-KR" altLang="en-US" sz="1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1" name="그림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1849" y="3219264"/>
            <a:ext cx="293971" cy="216024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1609" y="3219264"/>
            <a:ext cx="268162" cy="253796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727" y="3219264"/>
            <a:ext cx="250052" cy="228496"/>
          </a:xfrm>
          <a:prstGeom prst="rect">
            <a:avLst/>
          </a:prstGeom>
        </p:spPr>
      </p:pic>
      <p:grpSp>
        <p:nvGrpSpPr>
          <p:cNvPr id="14" name="그룹 13"/>
          <p:cNvGrpSpPr/>
          <p:nvPr/>
        </p:nvGrpSpPr>
        <p:grpSpPr>
          <a:xfrm>
            <a:off x="1331640" y="3140968"/>
            <a:ext cx="2448272" cy="2232248"/>
            <a:chOff x="1331640" y="3140968"/>
            <a:chExt cx="2448272" cy="2232248"/>
          </a:xfrm>
        </p:grpSpPr>
        <p:cxnSp>
          <p:nvCxnSpPr>
            <p:cNvPr id="9" name="직선 연결선 8"/>
            <p:cNvCxnSpPr/>
            <p:nvPr/>
          </p:nvCxnSpPr>
          <p:spPr>
            <a:xfrm>
              <a:off x="1331640" y="3140968"/>
              <a:ext cx="0" cy="2232248"/>
            </a:xfrm>
            <a:prstGeom prst="line">
              <a:avLst/>
            </a:prstGeom>
            <a:ln w="254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직선 연결선 28"/>
            <p:cNvCxnSpPr/>
            <p:nvPr/>
          </p:nvCxnSpPr>
          <p:spPr>
            <a:xfrm>
              <a:off x="3779912" y="3140968"/>
              <a:ext cx="0" cy="2232248"/>
            </a:xfrm>
            <a:prstGeom prst="line">
              <a:avLst/>
            </a:prstGeom>
            <a:ln w="254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직선 연결선 29"/>
            <p:cNvCxnSpPr/>
            <p:nvPr/>
          </p:nvCxnSpPr>
          <p:spPr>
            <a:xfrm flipH="1">
              <a:off x="1331640" y="3152192"/>
              <a:ext cx="2448272" cy="0"/>
            </a:xfrm>
            <a:prstGeom prst="line">
              <a:avLst/>
            </a:prstGeom>
            <a:ln w="254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직선 연결선 35"/>
            <p:cNvCxnSpPr/>
            <p:nvPr/>
          </p:nvCxnSpPr>
          <p:spPr>
            <a:xfrm flipH="1">
              <a:off x="1331640" y="5373216"/>
              <a:ext cx="2448272" cy="0"/>
            </a:xfrm>
            <a:prstGeom prst="line">
              <a:avLst/>
            </a:prstGeom>
            <a:ln w="254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25179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2982525"/>
            <a:ext cx="1779587" cy="273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853302" y="633402"/>
            <a:ext cx="7895162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가기관은 수료증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민간단체는 공인자격증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발급 실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38771" y="1228620"/>
            <a:ext cx="879772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의료코디네이터」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人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교육비용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1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원 </a:t>
            </a:r>
            <a:r>
              <a:rPr lang="ko-KR" altLang="en-US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외국인 대상</a:t>
            </a:r>
            <a:r>
              <a:rPr lang="en-US" altLang="ko-KR" sz="15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료증 발급</a:t>
            </a:r>
            <a:r>
              <a:rPr lang="en-US" altLang="ko-KR" sz="15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공인자격증</a:t>
            </a:r>
            <a:r>
              <a:rPr lang="en-US" altLang="ko-KR" sz="15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산업인력공단</a:t>
            </a:r>
            <a:r>
              <a:rPr lang="en-US" altLang="ko-KR" sz="15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별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의료통역사」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人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교육비용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8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원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국비지원 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240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만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5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천원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자비부담 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40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만원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이수자 수료증만 발급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 ①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한국의료관광코디네이터협회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문광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임의단체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→ 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내외국인 대상</a:t>
            </a:r>
            <a:r>
              <a:rPr lang="en-US" altLang="ko-KR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b="1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국가급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공인자격증 자체 발급 중</a:t>
            </a:r>
            <a:endParaRPr lang="ko-KR" altLang="en-US" sz="14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 ②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의료통역사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국가기술 공인자격증 제도 미비 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→</a:t>
            </a:r>
            <a:r>
              <a:rPr lang="ko-KR" altLang="en-US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공인자격증제도</a:t>
            </a:r>
            <a:r>
              <a:rPr lang="en-US" altLang="ko-KR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4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째 도입</a:t>
            </a:r>
            <a:r>
              <a:rPr lang="en-US" altLang="ko-KR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건복지부</a:t>
            </a:r>
            <a:r>
              <a:rPr lang="en-US" altLang="ko-KR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중 검토만</a:t>
            </a:r>
            <a:endParaRPr lang="ko-KR" altLang="en-US" sz="14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15842" y="5965465"/>
            <a:ext cx="862815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건복지 인재양성에 대한 위상 강화 및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체계적인 시스템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제도 보강 시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급</a:t>
            </a:r>
          </a:p>
        </p:txBody>
      </p:sp>
      <p:sp>
        <p:nvSpPr>
          <p:cNvPr id="26" name="오른쪽 화살표 25"/>
          <p:cNvSpPr/>
          <p:nvPr/>
        </p:nvSpPr>
        <p:spPr>
          <a:xfrm>
            <a:off x="167223" y="608647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46" name="오른쪽 화살표 45"/>
          <p:cNvSpPr/>
          <p:nvPr/>
        </p:nvSpPr>
        <p:spPr>
          <a:xfrm>
            <a:off x="4182550" y="1412775"/>
            <a:ext cx="108012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6" name="그림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5" y="107271"/>
            <a:ext cx="1440160" cy="275554"/>
          </a:xfrm>
          <a:prstGeom prst="rect">
            <a:avLst/>
          </a:prstGeom>
        </p:spPr>
      </p:pic>
      <p:sp>
        <p:nvSpPr>
          <p:cNvPr id="23" name="오른쪽 화살표 22"/>
          <p:cNvSpPr/>
          <p:nvPr/>
        </p:nvSpPr>
        <p:spPr>
          <a:xfrm>
            <a:off x="6246237" y="1731436"/>
            <a:ext cx="108012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2611" y="2933259"/>
            <a:ext cx="2090044" cy="2805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927" y="2935084"/>
            <a:ext cx="2030754" cy="2804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직사각형 1"/>
          <p:cNvSpPr/>
          <p:nvPr/>
        </p:nvSpPr>
        <p:spPr>
          <a:xfrm>
            <a:off x="1475656" y="5445224"/>
            <a:ext cx="1777258" cy="289364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63920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53302" y="633402"/>
            <a:ext cx="7679007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의료통역사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코디네이터의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양성제도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선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38772" y="1228620"/>
            <a:ext cx="8797724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해외 의료관광객 유치 활성화 차원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전문 코디네이터 및 의료통역사 양성 사업 중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지난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1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료코디네이터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1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배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24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억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국어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국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몽골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베트남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외국인 대상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지난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09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의료통역사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92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수료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4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억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국어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영어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일본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국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러시아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몽골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아랍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과정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①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의료전문성 비해 짧고 부실한 교육과정과 커리큘럼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→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현장 적응성 및 활용도 떨어져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②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양성과정 수료자 신분불안정 및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현업률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저조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→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의료기관 취업률 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20%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대 불과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사업취지 무색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③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「전문인력양성센터」별도 설치 예산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120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억 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확보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설 불투명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→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인재양성에 소극적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15842" y="6121458"/>
            <a:ext cx="862815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건의료의 전문성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특수성에 걸맞은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질 높은 양성과정 및 취업대책 강화</a:t>
            </a:r>
            <a:endParaRPr lang="ko-KR" altLang="en-US" sz="20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6" name="오른쪽 화살표 25"/>
          <p:cNvSpPr/>
          <p:nvPr/>
        </p:nvSpPr>
        <p:spPr>
          <a:xfrm>
            <a:off x="167223" y="624246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16" name="그림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5" y="107271"/>
            <a:ext cx="1440160" cy="275554"/>
          </a:xfrm>
          <a:prstGeom prst="rect">
            <a:avLst/>
          </a:prstGeom>
        </p:spPr>
      </p:pic>
      <p:sp>
        <p:nvSpPr>
          <p:cNvPr id="17" name="오른쪽 화살표 16"/>
          <p:cNvSpPr/>
          <p:nvPr/>
        </p:nvSpPr>
        <p:spPr>
          <a:xfrm>
            <a:off x="3635896" y="141277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5204961" y="17728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4775549" y="213812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4" name="그룹 3"/>
          <p:cNvGrpSpPr/>
          <p:nvPr/>
        </p:nvGrpSpPr>
        <p:grpSpPr>
          <a:xfrm>
            <a:off x="527227" y="3789040"/>
            <a:ext cx="3052481" cy="1944944"/>
            <a:chOff x="527227" y="3789040"/>
            <a:chExt cx="3052481" cy="1944944"/>
          </a:xfrm>
        </p:grpSpPr>
        <p:pic>
          <p:nvPicPr>
            <p:cNvPr id="2" name="그림 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227" y="3789040"/>
              <a:ext cx="3052481" cy="194494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2" name="그림 2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11862" y="3951589"/>
              <a:ext cx="295842" cy="217398"/>
            </a:xfrm>
            <a:prstGeom prst="rect">
              <a:avLst/>
            </a:prstGeom>
          </p:spPr>
        </p:pic>
      </p:grpSp>
      <p:sp>
        <p:nvSpPr>
          <p:cNvPr id="5" name="TextBox 4"/>
          <p:cNvSpPr txBox="1"/>
          <p:nvPr/>
        </p:nvSpPr>
        <p:spPr>
          <a:xfrm>
            <a:off x="2195736" y="3683097"/>
            <a:ext cx="17754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스펙</a:t>
            </a:r>
            <a:r>
              <a:rPr lang="ko-KR" altLang="en-US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 쌓기 용</a:t>
            </a:r>
            <a:r>
              <a:rPr lang="en-US" altLang="ko-KR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?</a:t>
            </a:r>
            <a:endParaRPr lang="ko-KR" altLang="en-US" dirty="0" smtClean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7761" y="3734679"/>
            <a:ext cx="1504950" cy="2667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9821" y="3683097"/>
            <a:ext cx="1600200" cy="2667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3877" y="3868029"/>
            <a:ext cx="2390775" cy="2667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973" y="4073812"/>
            <a:ext cx="2486025" cy="2667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4853" y="4337799"/>
            <a:ext cx="3533775" cy="2667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2375" y="4556229"/>
            <a:ext cx="1876425" cy="2667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그림 1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5901" y="4761512"/>
            <a:ext cx="3543300" cy="2667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335" y="4995569"/>
            <a:ext cx="3543300" cy="2667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0" name="그림 19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7686" y="5195457"/>
            <a:ext cx="2562225" cy="2667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1" name="그림 20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2375" y="5428919"/>
            <a:ext cx="2247900" cy="2667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4" name="그림 23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0109" y="5529935"/>
            <a:ext cx="2362200" cy="2667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0" name="그림 29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7771" y="4081849"/>
            <a:ext cx="1666875" cy="2667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6" name="그림 35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9498" y="4545064"/>
            <a:ext cx="1666875" cy="2667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087491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586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Oval 45"/>
          <p:cNvSpPr/>
          <p:nvPr/>
        </p:nvSpPr>
        <p:spPr>
          <a:xfrm>
            <a:off x="215304" y="161493"/>
            <a:ext cx="539719" cy="50801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03291" y="1651260"/>
            <a:ext cx="6696744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28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육으로 행복한 세상을 꿈꾸는</a:t>
            </a:r>
            <a:endParaRPr lang="en-US" altLang="ko-KR" sz="2800" dirty="0" smtClean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r">
              <a:lnSpc>
                <a:spcPct val="150000"/>
              </a:lnSpc>
            </a:pPr>
            <a:r>
              <a:rPr lang="ko-KR" altLang="en-US" sz="28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차별 없는 세상</a:t>
            </a:r>
            <a:r>
              <a:rPr lang="en-US" altLang="ko-KR" sz="28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8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행복한 세상</a:t>
            </a:r>
            <a:endParaRPr lang="en-US" altLang="ko-KR" sz="2800" dirty="0" smtClean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150042" y="2996952"/>
            <a:ext cx="6149993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217142" y="343248"/>
            <a:ext cx="53788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14</a:t>
            </a:r>
            <a:endParaRPr lang="en-US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847835" y="5374034"/>
            <a:ext cx="254058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sz="28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71010" y="254848"/>
            <a:ext cx="1842926" cy="4231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복지위원회</a:t>
            </a:r>
            <a:endParaRPr lang="en-US" altLang="ko-KR" sz="11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정감</a:t>
            </a:r>
            <a:r>
              <a:rPr lang="ko-KR" altLang="en-US" sz="11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</a:t>
            </a:r>
            <a:endParaRPr lang="en-US" sz="11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893433" y="5875444"/>
            <a:ext cx="244938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400" dirty="0" err="1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400" dirty="0">
              <a:solidFill>
                <a:schemeClr val="accent2">
                  <a:lumMod val="7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84" y="5832161"/>
            <a:ext cx="539951" cy="258727"/>
          </a:xfrm>
          <a:prstGeom prst="rect">
            <a:avLst/>
          </a:prstGeom>
        </p:spPr>
      </p:pic>
      <p:grpSp>
        <p:nvGrpSpPr>
          <p:cNvPr id="14" name="Group 348"/>
          <p:cNvGrpSpPr/>
          <p:nvPr/>
        </p:nvGrpSpPr>
        <p:grpSpPr>
          <a:xfrm>
            <a:off x="426239" y="6370186"/>
            <a:ext cx="1453620" cy="288575"/>
            <a:chOff x="2077120" y="4859661"/>
            <a:chExt cx="1453620" cy="288575"/>
          </a:xfrm>
        </p:grpSpPr>
        <p:sp>
          <p:nvSpPr>
            <p:cNvPr id="15" name="Freeform 6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TextBox 15"/>
            <p:cNvSpPr txBox="1"/>
            <p:nvPr>
              <p:custDataLst>
                <p:tags r:id="rId4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ww.mslee.co.kr</a:t>
              </a:r>
              <a:endPara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4137565" y="3220218"/>
            <a:ext cx="414277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국보육진흥원</a:t>
            </a:r>
            <a:endParaRPr lang="en-US" altLang="ko-KR" sz="2400" dirty="0" smtClean="0">
              <a:solidFill>
                <a:schemeClr val="tx1">
                  <a:lumMod val="65000"/>
                  <a:lumOff val="3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국장애인개발</a:t>
            </a:r>
            <a:r>
              <a:rPr lang="ko-KR" alt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원</a:t>
            </a:r>
            <a:r>
              <a:rPr lang="en-US" altLang="ko-KR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en-US" altLang="ko-KR" sz="24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838" y="1702415"/>
            <a:ext cx="555639" cy="547508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5629" y="2409245"/>
            <a:ext cx="504056" cy="510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648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673768" y="3717032"/>
            <a:ext cx="7806207" cy="1909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853302" y="633402"/>
            <a:ext cx="771917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무상보육시대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국보육진흥원 위상과 향후 과제</a:t>
            </a:r>
            <a:endParaRPr lang="en-US" sz="24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9286" y="1228620"/>
            <a:ext cx="864720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 사업 위탁에 대한 법적 근거 없이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보육어린이집의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운영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평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교육 등 사업 이행 중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동시에 법적 근거 미흡으로 보육진흥을 위한 발전적 연구업무 수행 및 개발에 제한 받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원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5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에 실제 현원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388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4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9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월現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 기형적 구조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규직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4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정규직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24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06%)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위탁사업 수행기관이라는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제약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력운영 등의 한계 노출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규직보다 많은 계약직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잦은 이직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권역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역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시설별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특성에 맞는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맞춤식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교육과정 및 프로그램 부족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력과 예산의 한계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보육종사자 및 교직원들의 역량강화 및 직무스트레스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해소책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부실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계량적 평가의 한계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978724" y="5743884"/>
            <a:ext cx="790877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투명한 </a:t>
            </a:r>
            <a:r>
              <a:rPr lang="ko-KR" altLang="en-US" sz="20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육어린이집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및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질 높은 보육환경 위한 법적 근거 마련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</a:p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신분안정 추진</a:t>
            </a:r>
            <a:endParaRPr lang="ko-KR" altLang="en-US" sz="20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6" name="오른쪽 화살표 25"/>
          <p:cNvSpPr/>
          <p:nvPr/>
        </p:nvSpPr>
        <p:spPr>
          <a:xfrm>
            <a:off x="514169" y="589286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46" name="오른쪽 화살표 45"/>
          <p:cNvSpPr/>
          <p:nvPr/>
        </p:nvSpPr>
        <p:spPr>
          <a:xfrm>
            <a:off x="5511958" y="213285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828" y="113548"/>
            <a:ext cx="1112295" cy="269277"/>
          </a:xfrm>
          <a:prstGeom prst="rect">
            <a:avLst/>
          </a:prstGeom>
        </p:spPr>
      </p:pic>
      <p:sp>
        <p:nvSpPr>
          <p:cNvPr id="16" name="오른쪽 화살표 15"/>
          <p:cNvSpPr/>
          <p:nvPr/>
        </p:nvSpPr>
        <p:spPr>
          <a:xfrm>
            <a:off x="5670410" y="24928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6876256" y="285293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6444208" y="321601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54" name="Group 4"/>
          <p:cNvGrpSpPr/>
          <p:nvPr/>
        </p:nvGrpSpPr>
        <p:grpSpPr>
          <a:xfrm>
            <a:off x="853336" y="3966330"/>
            <a:ext cx="381000" cy="304800"/>
            <a:chOff x="990600" y="1905000"/>
            <a:chExt cx="381000" cy="3048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6" name="Oval 3"/>
            <p:cNvSpPr/>
            <p:nvPr/>
          </p:nvSpPr>
          <p:spPr>
            <a:xfrm>
              <a:off x="990600" y="1905000"/>
              <a:ext cx="304800" cy="304800"/>
            </a:xfrm>
            <a:prstGeom prst="ellipse">
              <a:avLst/>
            </a:prstGeom>
            <a:noFill/>
            <a:ln>
              <a:solidFill>
                <a:srgbClr val="0D65A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57" name="Freeform 111"/>
            <p:cNvSpPr>
              <a:spLocks/>
            </p:cNvSpPr>
            <p:nvPr/>
          </p:nvSpPr>
          <p:spPr bwMode="auto">
            <a:xfrm>
              <a:off x="1057401" y="1905000"/>
              <a:ext cx="314199" cy="244713"/>
            </a:xfrm>
            <a:custGeom>
              <a:avLst/>
              <a:gdLst>
                <a:gd name="T0" fmla="*/ 0 w 516"/>
                <a:gd name="T1" fmla="*/ 233 h 406"/>
                <a:gd name="T2" fmla="*/ 110 w 516"/>
                <a:gd name="T3" fmla="*/ 406 h 406"/>
                <a:gd name="T4" fmla="*/ 516 w 516"/>
                <a:gd name="T5" fmla="*/ 0 h 406"/>
                <a:gd name="T6" fmla="*/ 133 w 516"/>
                <a:gd name="T7" fmla="*/ 284 h 406"/>
                <a:gd name="T8" fmla="*/ 0 w 516"/>
                <a:gd name="T9" fmla="*/ 233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6" h="406">
                  <a:moveTo>
                    <a:pt x="0" y="233"/>
                  </a:moveTo>
                  <a:lnTo>
                    <a:pt x="110" y="406"/>
                  </a:lnTo>
                  <a:lnTo>
                    <a:pt x="516" y="0"/>
                  </a:lnTo>
                  <a:lnTo>
                    <a:pt x="133" y="284"/>
                  </a:lnTo>
                  <a:lnTo>
                    <a:pt x="0" y="233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50" name="Group 36"/>
          <p:cNvGrpSpPr/>
          <p:nvPr/>
        </p:nvGrpSpPr>
        <p:grpSpPr>
          <a:xfrm>
            <a:off x="853302" y="4541666"/>
            <a:ext cx="381000" cy="304800"/>
            <a:chOff x="990600" y="1905000"/>
            <a:chExt cx="381000" cy="3048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2" name="Oval 37"/>
            <p:cNvSpPr/>
            <p:nvPr/>
          </p:nvSpPr>
          <p:spPr>
            <a:xfrm>
              <a:off x="990600" y="1905000"/>
              <a:ext cx="304800" cy="304800"/>
            </a:xfrm>
            <a:prstGeom prst="ellipse">
              <a:avLst/>
            </a:prstGeom>
            <a:noFill/>
            <a:ln>
              <a:solidFill>
                <a:srgbClr val="CE20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53" name="Freeform 111"/>
            <p:cNvSpPr>
              <a:spLocks/>
            </p:cNvSpPr>
            <p:nvPr/>
          </p:nvSpPr>
          <p:spPr bwMode="auto">
            <a:xfrm>
              <a:off x="1057401" y="1905000"/>
              <a:ext cx="314199" cy="244713"/>
            </a:xfrm>
            <a:custGeom>
              <a:avLst/>
              <a:gdLst>
                <a:gd name="T0" fmla="*/ 0 w 516"/>
                <a:gd name="T1" fmla="*/ 233 h 406"/>
                <a:gd name="T2" fmla="*/ 110 w 516"/>
                <a:gd name="T3" fmla="*/ 406 h 406"/>
                <a:gd name="T4" fmla="*/ 516 w 516"/>
                <a:gd name="T5" fmla="*/ 0 h 406"/>
                <a:gd name="T6" fmla="*/ 133 w 516"/>
                <a:gd name="T7" fmla="*/ 284 h 406"/>
                <a:gd name="T8" fmla="*/ 0 w 516"/>
                <a:gd name="T9" fmla="*/ 233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6" h="406">
                  <a:moveTo>
                    <a:pt x="0" y="233"/>
                  </a:moveTo>
                  <a:lnTo>
                    <a:pt x="110" y="406"/>
                  </a:lnTo>
                  <a:lnTo>
                    <a:pt x="516" y="0"/>
                  </a:lnTo>
                  <a:lnTo>
                    <a:pt x="133" y="284"/>
                  </a:lnTo>
                  <a:lnTo>
                    <a:pt x="0" y="233"/>
                  </a:lnTo>
                  <a:close/>
                </a:path>
              </a:pathLst>
            </a:custGeom>
            <a:solidFill>
              <a:srgbClr val="CE202A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40" name="Group 50"/>
          <p:cNvGrpSpPr/>
          <p:nvPr/>
        </p:nvGrpSpPr>
        <p:grpSpPr>
          <a:xfrm>
            <a:off x="853302" y="5122361"/>
            <a:ext cx="381000" cy="304800"/>
            <a:chOff x="990600" y="1905000"/>
            <a:chExt cx="381000" cy="3048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3" name="Oval 52"/>
            <p:cNvSpPr/>
            <p:nvPr/>
          </p:nvSpPr>
          <p:spPr>
            <a:xfrm>
              <a:off x="990600" y="1905000"/>
              <a:ext cx="304800" cy="304800"/>
            </a:xfrm>
            <a:prstGeom prst="ellipse">
              <a:avLst/>
            </a:prstGeom>
            <a:noFill/>
            <a:ln>
              <a:solidFill>
                <a:srgbClr val="F0B71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44" name="Freeform 111"/>
            <p:cNvSpPr>
              <a:spLocks/>
            </p:cNvSpPr>
            <p:nvPr/>
          </p:nvSpPr>
          <p:spPr bwMode="auto">
            <a:xfrm>
              <a:off x="1057401" y="1905000"/>
              <a:ext cx="314199" cy="244713"/>
            </a:xfrm>
            <a:custGeom>
              <a:avLst/>
              <a:gdLst>
                <a:gd name="T0" fmla="*/ 0 w 516"/>
                <a:gd name="T1" fmla="*/ 233 h 406"/>
                <a:gd name="T2" fmla="*/ 110 w 516"/>
                <a:gd name="T3" fmla="*/ 406 h 406"/>
                <a:gd name="T4" fmla="*/ 516 w 516"/>
                <a:gd name="T5" fmla="*/ 0 h 406"/>
                <a:gd name="T6" fmla="*/ 133 w 516"/>
                <a:gd name="T7" fmla="*/ 284 h 406"/>
                <a:gd name="T8" fmla="*/ 0 w 516"/>
                <a:gd name="T9" fmla="*/ 233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6" h="406">
                  <a:moveTo>
                    <a:pt x="0" y="233"/>
                  </a:moveTo>
                  <a:lnTo>
                    <a:pt x="110" y="406"/>
                  </a:lnTo>
                  <a:lnTo>
                    <a:pt x="516" y="0"/>
                  </a:lnTo>
                  <a:lnTo>
                    <a:pt x="133" y="284"/>
                  </a:lnTo>
                  <a:lnTo>
                    <a:pt x="0" y="233"/>
                  </a:lnTo>
                  <a:close/>
                </a:path>
              </a:pathLst>
            </a:custGeom>
            <a:solidFill>
              <a:srgbClr val="F0B71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30" name="Group 9"/>
          <p:cNvGrpSpPr/>
          <p:nvPr/>
        </p:nvGrpSpPr>
        <p:grpSpPr>
          <a:xfrm>
            <a:off x="7709449" y="4739299"/>
            <a:ext cx="1383914" cy="1075437"/>
            <a:chOff x="4929090" y="2803881"/>
            <a:chExt cx="3266866" cy="2538675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grpSp>
          <p:nvGrpSpPr>
            <p:cNvPr id="36" name="Group 46"/>
            <p:cNvGrpSpPr/>
            <p:nvPr/>
          </p:nvGrpSpPr>
          <p:grpSpPr>
            <a:xfrm rot="1365204">
              <a:off x="4929090" y="2838670"/>
              <a:ext cx="3266866" cy="2503886"/>
              <a:chOff x="625475" y="2439988"/>
              <a:chExt cx="482600" cy="369888"/>
            </a:xfrm>
            <a:solidFill>
              <a:srgbClr val="0D65AC"/>
            </a:solidFill>
            <a:effectLst/>
          </p:grpSpPr>
          <p:sp>
            <p:nvSpPr>
              <p:cNvPr id="38" name="Freeform 168"/>
              <p:cNvSpPr>
                <a:spLocks noEditPoints="1"/>
              </p:cNvSpPr>
              <p:nvPr/>
            </p:nvSpPr>
            <p:spPr bwMode="auto">
              <a:xfrm>
                <a:off x="625475" y="2439988"/>
                <a:ext cx="482600" cy="369888"/>
              </a:xfrm>
              <a:custGeom>
                <a:avLst/>
                <a:gdLst>
                  <a:gd name="T0" fmla="*/ 566 w 1519"/>
                  <a:gd name="T1" fmla="*/ 10 h 1165"/>
                  <a:gd name="T2" fmla="*/ 675 w 1519"/>
                  <a:gd name="T3" fmla="*/ 46 h 1165"/>
                  <a:gd name="T4" fmla="*/ 770 w 1519"/>
                  <a:gd name="T5" fmla="*/ 107 h 1165"/>
                  <a:gd name="T6" fmla="*/ 848 w 1519"/>
                  <a:gd name="T7" fmla="*/ 189 h 1165"/>
                  <a:gd name="T8" fmla="*/ 904 w 1519"/>
                  <a:gd name="T9" fmla="*/ 288 h 1165"/>
                  <a:gd name="T10" fmla="*/ 936 w 1519"/>
                  <a:gd name="T11" fmla="*/ 399 h 1165"/>
                  <a:gd name="T12" fmla="*/ 938 w 1519"/>
                  <a:gd name="T13" fmla="*/ 520 h 1165"/>
                  <a:gd name="T14" fmla="*/ 912 w 1519"/>
                  <a:gd name="T15" fmla="*/ 635 h 1165"/>
                  <a:gd name="T16" fmla="*/ 1503 w 1519"/>
                  <a:gd name="T17" fmla="*/ 1047 h 1165"/>
                  <a:gd name="T18" fmla="*/ 1518 w 1519"/>
                  <a:gd name="T19" fmla="*/ 1078 h 1165"/>
                  <a:gd name="T20" fmla="*/ 1517 w 1519"/>
                  <a:gd name="T21" fmla="*/ 1113 h 1165"/>
                  <a:gd name="T22" fmla="*/ 1498 w 1519"/>
                  <a:gd name="T23" fmla="*/ 1143 h 1165"/>
                  <a:gd name="T24" fmla="*/ 1469 w 1519"/>
                  <a:gd name="T25" fmla="*/ 1161 h 1165"/>
                  <a:gd name="T26" fmla="*/ 1435 w 1519"/>
                  <a:gd name="T27" fmla="*/ 1163 h 1165"/>
                  <a:gd name="T28" fmla="*/ 828 w 1519"/>
                  <a:gd name="T29" fmla="*/ 778 h 1165"/>
                  <a:gd name="T30" fmla="*/ 735 w 1519"/>
                  <a:gd name="T31" fmla="*/ 860 h 1165"/>
                  <a:gd name="T32" fmla="*/ 623 w 1519"/>
                  <a:gd name="T33" fmla="*/ 916 h 1165"/>
                  <a:gd name="T34" fmla="*/ 497 w 1519"/>
                  <a:gd name="T35" fmla="*/ 941 h 1165"/>
                  <a:gd name="T36" fmla="*/ 376 w 1519"/>
                  <a:gd name="T37" fmla="*/ 932 h 1165"/>
                  <a:gd name="T38" fmla="*/ 266 w 1519"/>
                  <a:gd name="T39" fmla="*/ 895 h 1165"/>
                  <a:gd name="T40" fmla="*/ 172 w 1519"/>
                  <a:gd name="T41" fmla="*/ 834 h 1165"/>
                  <a:gd name="T42" fmla="*/ 94 w 1519"/>
                  <a:gd name="T43" fmla="*/ 752 h 1165"/>
                  <a:gd name="T44" fmla="*/ 37 w 1519"/>
                  <a:gd name="T45" fmla="*/ 654 h 1165"/>
                  <a:gd name="T46" fmla="*/ 6 w 1519"/>
                  <a:gd name="T47" fmla="*/ 542 h 1165"/>
                  <a:gd name="T48" fmla="*/ 3 w 1519"/>
                  <a:gd name="T49" fmla="*/ 423 h 1165"/>
                  <a:gd name="T50" fmla="*/ 29 w 1519"/>
                  <a:gd name="T51" fmla="*/ 308 h 1165"/>
                  <a:gd name="T52" fmla="*/ 81 w 1519"/>
                  <a:gd name="T53" fmla="*/ 208 h 1165"/>
                  <a:gd name="T54" fmla="*/ 155 w 1519"/>
                  <a:gd name="T55" fmla="*/ 122 h 1165"/>
                  <a:gd name="T56" fmla="*/ 246 w 1519"/>
                  <a:gd name="T57" fmla="*/ 57 h 1165"/>
                  <a:gd name="T58" fmla="*/ 353 w 1519"/>
                  <a:gd name="T59" fmla="*/ 15 h 1165"/>
                  <a:gd name="T60" fmla="*/ 471 w 1519"/>
                  <a:gd name="T61" fmla="*/ 0 h 1165"/>
                  <a:gd name="T62" fmla="*/ 543 w 1519"/>
                  <a:gd name="T63" fmla="*/ 119 h 1165"/>
                  <a:gd name="T64" fmla="*/ 627 w 1519"/>
                  <a:gd name="T65" fmla="*/ 147 h 1165"/>
                  <a:gd name="T66" fmla="*/ 699 w 1519"/>
                  <a:gd name="T67" fmla="*/ 194 h 1165"/>
                  <a:gd name="T68" fmla="*/ 759 w 1519"/>
                  <a:gd name="T69" fmla="*/ 256 h 1165"/>
                  <a:gd name="T70" fmla="*/ 802 w 1519"/>
                  <a:gd name="T71" fmla="*/ 331 h 1165"/>
                  <a:gd name="T72" fmla="*/ 825 w 1519"/>
                  <a:gd name="T73" fmla="*/ 416 h 1165"/>
                  <a:gd name="T74" fmla="*/ 828 w 1519"/>
                  <a:gd name="T75" fmla="*/ 507 h 1165"/>
                  <a:gd name="T76" fmla="*/ 807 w 1519"/>
                  <a:gd name="T77" fmla="*/ 594 h 1165"/>
                  <a:gd name="T78" fmla="*/ 768 w 1519"/>
                  <a:gd name="T79" fmla="*/ 671 h 1165"/>
                  <a:gd name="T80" fmla="*/ 713 w 1519"/>
                  <a:gd name="T81" fmla="*/ 736 h 1165"/>
                  <a:gd name="T82" fmla="*/ 641 w 1519"/>
                  <a:gd name="T83" fmla="*/ 786 h 1165"/>
                  <a:gd name="T84" fmla="*/ 560 w 1519"/>
                  <a:gd name="T85" fmla="*/ 818 h 1165"/>
                  <a:gd name="T86" fmla="*/ 471 w 1519"/>
                  <a:gd name="T87" fmla="*/ 829 h 1165"/>
                  <a:gd name="T88" fmla="*/ 382 w 1519"/>
                  <a:gd name="T89" fmla="*/ 818 h 1165"/>
                  <a:gd name="T90" fmla="*/ 300 w 1519"/>
                  <a:gd name="T91" fmla="*/ 786 h 1165"/>
                  <a:gd name="T92" fmla="*/ 229 w 1519"/>
                  <a:gd name="T93" fmla="*/ 736 h 1165"/>
                  <a:gd name="T94" fmla="*/ 174 w 1519"/>
                  <a:gd name="T95" fmla="*/ 671 h 1165"/>
                  <a:gd name="T96" fmla="*/ 134 w 1519"/>
                  <a:gd name="T97" fmla="*/ 594 h 1165"/>
                  <a:gd name="T98" fmla="*/ 114 w 1519"/>
                  <a:gd name="T99" fmla="*/ 507 h 1165"/>
                  <a:gd name="T100" fmla="*/ 116 w 1519"/>
                  <a:gd name="T101" fmla="*/ 416 h 1165"/>
                  <a:gd name="T102" fmla="*/ 140 w 1519"/>
                  <a:gd name="T103" fmla="*/ 331 h 1165"/>
                  <a:gd name="T104" fmla="*/ 183 w 1519"/>
                  <a:gd name="T105" fmla="*/ 256 h 1165"/>
                  <a:gd name="T106" fmla="*/ 243 w 1519"/>
                  <a:gd name="T107" fmla="*/ 194 h 1165"/>
                  <a:gd name="T108" fmla="*/ 315 w 1519"/>
                  <a:gd name="T109" fmla="*/ 147 h 1165"/>
                  <a:gd name="T110" fmla="*/ 399 w 1519"/>
                  <a:gd name="T111" fmla="*/ 119 h 1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519" h="1165">
                    <a:moveTo>
                      <a:pt x="471" y="0"/>
                    </a:moveTo>
                    <a:lnTo>
                      <a:pt x="495" y="1"/>
                    </a:lnTo>
                    <a:lnTo>
                      <a:pt x="519" y="2"/>
                    </a:lnTo>
                    <a:lnTo>
                      <a:pt x="542" y="6"/>
                    </a:lnTo>
                    <a:lnTo>
                      <a:pt x="566" y="10"/>
                    </a:lnTo>
                    <a:lnTo>
                      <a:pt x="588" y="15"/>
                    </a:lnTo>
                    <a:lnTo>
                      <a:pt x="611" y="22"/>
                    </a:lnTo>
                    <a:lnTo>
                      <a:pt x="632" y="28"/>
                    </a:lnTo>
                    <a:lnTo>
                      <a:pt x="654" y="37"/>
                    </a:lnTo>
                    <a:lnTo>
                      <a:pt x="675" y="46"/>
                    </a:lnTo>
                    <a:lnTo>
                      <a:pt x="696" y="57"/>
                    </a:lnTo>
                    <a:lnTo>
                      <a:pt x="715" y="68"/>
                    </a:lnTo>
                    <a:lnTo>
                      <a:pt x="734" y="80"/>
                    </a:lnTo>
                    <a:lnTo>
                      <a:pt x="752" y="94"/>
                    </a:lnTo>
                    <a:lnTo>
                      <a:pt x="770" y="107"/>
                    </a:lnTo>
                    <a:lnTo>
                      <a:pt x="787" y="122"/>
                    </a:lnTo>
                    <a:lnTo>
                      <a:pt x="804" y="138"/>
                    </a:lnTo>
                    <a:lnTo>
                      <a:pt x="819" y="155"/>
                    </a:lnTo>
                    <a:lnTo>
                      <a:pt x="833" y="172"/>
                    </a:lnTo>
                    <a:lnTo>
                      <a:pt x="848" y="189"/>
                    </a:lnTo>
                    <a:lnTo>
                      <a:pt x="860" y="208"/>
                    </a:lnTo>
                    <a:lnTo>
                      <a:pt x="873" y="227"/>
                    </a:lnTo>
                    <a:lnTo>
                      <a:pt x="884" y="246"/>
                    </a:lnTo>
                    <a:lnTo>
                      <a:pt x="895" y="267"/>
                    </a:lnTo>
                    <a:lnTo>
                      <a:pt x="904" y="288"/>
                    </a:lnTo>
                    <a:lnTo>
                      <a:pt x="912" y="308"/>
                    </a:lnTo>
                    <a:lnTo>
                      <a:pt x="920" y="331"/>
                    </a:lnTo>
                    <a:lnTo>
                      <a:pt x="926" y="354"/>
                    </a:lnTo>
                    <a:lnTo>
                      <a:pt x="932" y="376"/>
                    </a:lnTo>
                    <a:lnTo>
                      <a:pt x="936" y="399"/>
                    </a:lnTo>
                    <a:lnTo>
                      <a:pt x="938" y="423"/>
                    </a:lnTo>
                    <a:lnTo>
                      <a:pt x="941" y="446"/>
                    </a:lnTo>
                    <a:lnTo>
                      <a:pt x="942" y="471"/>
                    </a:lnTo>
                    <a:lnTo>
                      <a:pt x="941" y="495"/>
                    </a:lnTo>
                    <a:lnTo>
                      <a:pt x="938" y="520"/>
                    </a:lnTo>
                    <a:lnTo>
                      <a:pt x="936" y="543"/>
                    </a:lnTo>
                    <a:lnTo>
                      <a:pt x="932" y="567"/>
                    </a:lnTo>
                    <a:lnTo>
                      <a:pt x="926" y="590"/>
                    </a:lnTo>
                    <a:lnTo>
                      <a:pt x="919" y="612"/>
                    </a:lnTo>
                    <a:lnTo>
                      <a:pt x="912" y="635"/>
                    </a:lnTo>
                    <a:lnTo>
                      <a:pt x="903" y="656"/>
                    </a:lnTo>
                    <a:lnTo>
                      <a:pt x="1486" y="1032"/>
                    </a:lnTo>
                    <a:lnTo>
                      <a:pt x="1492" y="1037"/>
                    </a:lnTo>
                    <a:lnTo>
                      <a:pt x="1497" y="1041"/>
                    </a:lnTo>
                    <a:lnTo>
                      <a:pt x="1503" y="1047"/>
                    </a:lnTo>
                    <a:lnTo>
                      <a:pt x="1506" y="1053"/>
                    </a:lnTo>
                    <a:lnTo>
                      <a:pt x="1511" y="1058"/>
                    </a:lnTo>
                    <a:lnTo>
                      <a:pt x="1513" y="1065"/>
                    </a:lnTo>
                    <a:lnTo>
                      <a:pt x="1515" y="1071"/>
                    </a:lnTo>
                    <a:lnTo>
                      <a:pt x="1518" y="1078"/>
                    </a:lnTo>
                    <a:lnTo>
                      <a:pt x="1519" y="1084"/>
                    </a:lnTo>
                    <a:lnTo>
                      <a:pt x="1519" y="1091"/>
                    </a:lnTo>
                    <a:lnTo>
                      <a:pt x="1519" y="1098"/>
                    </a:lnTo>
                    <a:lnTo>
                      <a:pt x="1518" y="1105"/>
                    </a:lnTo>
                    <a:lnTo>
                      <a:pt x="1517" y="1113"/>
                    </a:lnTo>
                    <a:lnTo>
                      <a:pt x="1514" y="1118"/>
                    </a:lnTo>
                    <a:lnTo>
                      <a:pt x="1512" y="1125"/>
                    </a:lnTo>
                    <a:lnTo>
                      <a:pt x="1507" y="1132"/>
                    </a:lnTo>
                    <a:lnTo>
                      <a:pt x="1504" y="1137"/>
                    </a:lnTo>
                    <a:lnTo>
                      <a:pt x="1498" y="1143"/>
                    </a:lnTo>
                    <a:lnTo>
                      <a:pt x="1494" y="1148"/>
                    </a:lnTo>
                    <a:lnTo>
                      <a:pt x="1488" y="1152"/>
                    </a:lnTo>
                    <a:lnTo>
                      <a:pt x="1483" y="1155"/>
                    </a:lnTo>
                    <a:lnTo>
                      <a:pt x="1476" y="1159"/>
                    </a:lnTo>
                    <a:lnTo>
                      <a:pt x="1469" y="1161"/>
                    </a:lnTo>
                    <a:lnTo>
                      <a:pt x="1462" y="1163"/>
                    </a:lnTo>
                    <a:lnTo>
                      <a:pt x="1456" y="1165"/>
                    </a:lnTo>
                    <a:lnTo>
                      <a:pt x="1449" y="1165"/>
                    </a:lnTo>
                    <a:lnTo>
                      <a:pt x="1442" y="1165"/>
                    </a:lnTo>
                    <a:lnTo>
                      <a:pt x="1435" y="1163"/>
                    </a:lnTo>
                    <a:lnTo>
                      <a:pt x="1428" y="1162"/>
                    </a:lnTo>
                    <a:lnTo>
                      <a:pt x="1422" y="1160"/>
                    </a:lnTo>
                    <a:lnTo>
                      <a:pt x="1415" y="1157"/>
                    </a:lnTo>
                    <a:lnTo>
                      <a:pt x="1409" y="1153"/>
                    </a:lnTo>
                    <a:lnTo>
                      <a:pt x="828" y="778"/>
                    </a:lnTo>
                    <a:lnTo>
                      <a:pt x="811" y="796"/>
                    </a:lnTo>
                    <a:lnTo>
                      <a:pt x="793" y="813"/>
                    </a:lnTo>
                    <a:lnTo>
                      <a:pt x="775" y="830"/>
                    </a:lnTo>
                    <a:lnTo>
                      <a:pt x="755" y="846"/>
                    </a:lnTo>
                    <a:lnTo>
                      <a:pt x="735" y="860"/>
                    </a:lnTo>
                    <a:lnTo>
                      <a:pt x="714" y="873"/>
                    </a:lnTo>
                    <a:lnTo>
                      <a:pt x="692" y="886"/>
                    </a:lnTo>
                    <a:lnTo>
                      <a:pt x="670" y="897"/>
                    </a:lnTo>
                    <a:lnTo>
                      <a:pt x="647" y="907"/>
                    </a:lnTo>
                    <a:lnTo>
                      <a:pt x="623" y="916"/>
                    </a:lnTo>
                    <a:lnTo>
                      <a:pt x="600" y="924"/>
                    </a:lnTo>
                    <a:lnTo>
                      <a:pt x="575" y="930"/>
                    </a:lnTo>
                    <a:lnTo>
                      <a:pt x="549" y="935"/>
                    </a:lnTo>
                    <a:lnTo>
                      <a:pt x="524" y="939"/>
                    </a:lnTo>
                    <a:lnTo>
                      <a:pt x="497" y="941"/>
                    </a:lnTo>
                    <a:lnTo>
                      <a:pt x="471" y="941"/>
                    </a:lnTo>
                    <a:lnTo>
                      <a:pt x="447" y="941"/>
                    </a:lnTo>
                    <a:lnTo>
                      <a:pt x="422" y="939"/>
                    </a:lnTo>
                    <a:lnTo>
                      <a:pt x="400" y="935"/>
                    </a:lnTo>
                    <a:lnTo>
                      <a:pt x="376" y="932"/>
                    </a:lnTo>
                    <a:lnTo>
                      <a:pt x="353" y="926"/>
                    </a:lnTo>
                    <a:lnTo>
                      <a:pt x="331" y="921"/>
                    </a:lnTo>
                    <a:lnTo>
                      <a:pt x="309" y="913"/>
                    </a:lnTo>
                    <a:lnTo>
                      <a:pt x="288" y="905"/>
                    </a:lnTo>
                    <a:lnTo>
                      <a:pt x="266" y="895"/>
                    </a:lnTo>
                    <a:lnTo>
                      <a:pt x="246" y="884"/>
                    </a:lnTo>
                    <a:lnTo>
                      <a:pt x="227" y="873"/>
                    </a:lnTo>
                    <a:lnTo>
                      <a:pt x="208" y="861"/>
                    </a:lnTo>
                    <a:lnTo>
                      <a:pt x="190" y="848"/>
                    </a:lnTo>
                    <a:lnTo>
                      <a:pt x="172" y="834"/>
                    </a:lnTo>
                    <a:lnTo>
                      <a:pt x="155" y="819"/>
                    </a:lnTo>
                    <a:lnTo>
                      <a:pt x="138" y="803"/>
                    </a:lnTo>
                    <a:lnTo>
                      <a:pt x="123" y="787"/>
                    </a:lnTo>
                    <a:lnTo>
                      <a:pt x="108" y="770"/>
                    </a:lnTo>
                    <a:lnTo>
                      <a:pt x="94" y="752"/>
                    </a:lnTo>
                    <a:lnTo>
                      <a:pt x="81" y="734"/>
                    </a:lnTo>
                    <a:lnTo>
                      <a:pt x="69" y="715"/>
                    </a:lnTo>
                    <a:lnTo>
                      <a:pt x="58" y="695"/>
                    </a:lnTo>
                    <a:lnTo>
                      <a:pt x="46" y="674"/>
                    </a:lnTo>
                    <a:lnTo>
                      <a:pt x="37" y="654"/>
                    </a:lnTo>
                    <a:lnTo>
                      <a:pt x="29" y="633"/>
                    </a:lnTo>
                    <a:lnTo>
                      <a:pt x="21" y="611"/>
                    </a:lnTo>
                    <a:lnTo>
                      <a:pt x="16" y="589"/>
                    </a:lnTo>
                    <a:lnTo>
                      <a:pt x="10" y="566"/>
                    </a:lnTo>
                    <a:lnTo>
                      <a:pt x="6" y="542"/>
                    </a:lnTo>
                    <a:lnTo>
                      <a:pt x="3" y="519"/>
                    </a:lnTo>
                    <a:lnTo>
                      <a:pt x="1" y="495"/>
                    </a:lnTo>
                    <a:lnTo>
                      <a:pt x="0" y="471"/>
                    </a:lnTo>
                    <a:lnTo>
                      <a:pt x="1" y="446"/>
                    </a:lnTo>
                    <a:lnTo>
                      <a:pt x="3" y="423"/>
                    </a:lnTo>
                    <a:lnTo>
                      <a:pt x="6" y="399"/>
                    </a:lnTo>
                    <a:lnTo>
                      <a:pt x="10" y="376"/>
                    </a:lnTo>
                    <a:lnTo>
                      <a:pt x="16" y="354"/>
                    </a:lnTo>
                    <a:lnTo>
                      <a:pt x="21" y="331"/>
                    </a:lnTo>
                    <a:lnTo>
                      <a:pt x="29" y="308"/>
                    </a:lnTo>
                    <a:lnTo>
                      <a:pt x="37" y="288"/>
                    </a:lnTo>
                    <a:lnTo>
                      <a:pt x="46" y="267"/>
                    </a:lnTo>
                    <a:lnTo>
                      <a:pt x="58" y="246"/>
                    </a:lnTo>
                    <a:lnTo>
                      <a:pt x="69" y="227"/>
                    </a:lnTo>
                    <a:lnTo>
                      <a:pt x="81" y="208"/>
                    </a:lnTo>
                    <a:lnTo>
                      <a:pt x="94" y="189"/>
                    </a:lnTo>
                    <a:lnTo>
                      <a:pt x="108" y="172"/>
                    </a:lnTo>
                    <a:lnTo>
                      <a:pt x="123" y="155"/>
                    </a:lnTo>
                    <a:lnTo>
                      <a:pt x="138" y="138"/>
                    </a:lnTo>
                    <a:lnTo>
                      <a:pt x="155" y="122"/>
                    </a:lnTo>
                    <a:lnTo>
                      <a:pt x="172" y="107"/>
                    </a:lnTo>
                    <a:lnTo>
                      <a:pt x="190" y="94"/>
                    </a:lnTo>
                    <a:lnTo>
                      <a:pt x="208" y="80"/>
                    </a:lnTo>
                    <a:lnTo>
                      <a:pt x="227" y="68"/>
                    </a:lnTo>
                    <a:lnTo>
                      <a:pt x="246" y="57"/>
                    </a:lnTo>
                    <a:lnTo>
                      <a:pt x="266" y="46"/>
                    </a:lnTo>
                    <a:lnTo>
                      <a:pt x="288" y="37"/>
                    </a:lnTo>
                    <a:lnTo>
                      <a:pt x="309" y="28"/>
                    </a:lnTo>
                    <a:lnTo>
                      <a:pt x="331" y="22"/>
                    </a:lnTo>
                    <a:lnTo>
                      <a:pt x="353" y="15"/>
                    </a:lnTo>
                    <a:lnTo>
                      <a:pt x="376" y="10"/>
                    </a:lnTo>
                    <a:lnTo>
                      <a:pt x="400" y="6"/>
                    </a:lnTo>
                    <a:lnTo>
                      <a:pt x="422" y="2"/>
                    </a:lnTo>
                    <a:lnTo>
                      <a:pt x="447" y="1"/>
                    </a:lnTo>
                    <a:lnTo>
                      <a:pt x="471" y="0"/>
                    </a:lnTo>
                    <a:close/>
                    <a:moveTo>
                      <a:pt x="471" y="112"/>
                    </a:moveTo>
                    <a:lnTo>
                      <a:pt x="489" y="112"/>
                    </a:lnTo>
                    <a:lnTo>
                      <a:pt x="507" y="114"/>
                    </a:lnTo>
                    <a:lnTo>
                      <a:pt x="525" y="116"/>
                    </a:lnTo>
                    <a:lnTo>
                      <a:pt x="543" y="119"/>
                    </a:lnTo>
                    <a:lnTo>
                      <a:pt x="560" y="123"/>
                    </a:lnTo>
                    <a:lnTo>
                      <a:pt x="577" y="128"/>
                    </a:lnTo>
                    <a:lnTo>
                      <a:pt x="594" y="133"/>
                    </a:lnTo>
                    <a:lnTo>
                      <a:pt x="611" y="140"/>
                    </a:lnTo>
                    <a:lnTo>
                      <a:pt x="627" y="147"/>
                    </a:lnTo>
                    <a:lnTo>
                      <a:pt x="641" y="155"/>
                    </a:lnTo>
                    <a:lnTo>
                      <a:pt x="657" y="164"/>
                    </a:lnTo>
                    <a:lnTo>
                      <a:pt x="672" y="173"/>
                    </a:lnTo>
                    <a:lnTo>
                      <a:pt x="685" y="183"/>
                    </a:lnTo>
                    <a:lnTo>
                      <a:pt x="699" y="194"/>
                    </a:lnTo>
                    <a:lnTo>
                      <a:pt x="713" y="206"/>
                    </a:lnTo>
                    <a:lnTo>
                      <a:pt x="725" y="217"/>
                    </a:lnTo>
                    <a:lnTo>
                      <a:pt x="736" y="229"/>
                    </a:lnTo>
                    <a:lnTo>
                      <a:pt x="748" y="243"/>
                    </a:lnTo>
                    <a:lnTo>
                      <a:pt x="759" y="256"/>
                    </a:lnTo>
                    <a:lnTo>
                      <a:pt x="768" y="270"/>
                    </a:lnTo>
                    <a:lnTo>
                      <a:pt x="778" y="285"/>
                    </a:lnTo>
                    <a:lnTo>
                      <a:pt x="786" y="299"/>
                    </a:lnTo>
                    <a:lnTo>
                      <a:pt x="794" y="315"/>
                    </a:lnTo>
                    <a:lnTo>
                      <a:pt x="802" y="331"/>
                    </a:lnTo>
                    <a:lnTo>
                      <a:pt x="807" y="347"/>
                    </a:lnTo>
                    <a:lnTo>
                      <a:pt x="813" y="364"/>
                    </a:lnTo>
                    <a:lnTo>
                      <a:pt x="819" y="381"/>
                    </a:lnTo>
                    <a:lnTo>
                      <a:pt x="822" y="399"/>
                    </a:lnTo>
                    <a:lnTo>
                      <a:pt x="825" y="416"/>
                    </a:lnTo>
                    <a:lnTo>
                      <a:pt x="828" y="434"/>
                    </a:lnTo>
                    <a:lnTo>
                      <a:pt x="829" y="452"/>
                    </a:lnTo>
                    <a:lnTo>
                      <a:pt x="830" y="471"/>
                    </a:lnTo>
                    <a:lnTo>
                      <a:pt x="829" y="489"/>
                    </a:lnTo>
                    <a:lnTo>
                      <a:pt x="828" y="507"/>
                    </a:lnTo>
                    <a:lnTo>
                      <a:pt x="825" y="525"/>
                    </a:lnTo>
                    <a:lnTo>
                      <a:pt x="822" y="543"/>
                    </a:lnTo>
                    <a:lnTo>
                      <a:pt x="819" y="560"/>
                    </a:lnTo>
                    <a:lnTo>
                      <a:pt x="813" y="577"/>
                    </a:lnTo>
                    <a:lnTo>
                      <a:pt x="807" y="594"/>
                    </a:lnTo>
                    <a:lnTo>
                      <a:pt x="802" y="610"/>
                    </a:lnTo>
                    <a:lnTo>
                      <a:pt x="794" y="626"/>
                    </a:lnTo>
                    <a:lnTo>
                      <a:pt x="786" y="642"/>
                    </a:lnTo>
                    <a:lnTo>
                      <a:pt x="778" y="656"/>
                    </a:lnTo>
                    <a:lnTo>
                      <a:pt x="768" y="671"/>
                    </a:lnTo>
                    <a:lnTo>
                      <a:pt x="759" y="686"/>
                    </a:lnTo>
                    <a:lnTo>
                      <a:pt x="748" y="699"/>
                    </a:lnTo>
                    <a:lnTo>
                      <a:pt x="736" y="712"/>
                    </a:lnTo>
                    <a:lnTo>
                      <a:pt x="725" y="724"/>
                    </a:lnTo>
                    <a:lnTo>
                      <a:pt x="713" y="736"/>
                    </a:lnTo>
                    <a:lnTo>
                      <a:pt x="699" y="748"/>
                    </a:lnTo>
                    <a:lnTo>
                      <a:pt x="685" y="758"/>
                    </a:lnTo>
                    <a:lnTo>
                      <a:pt x="672" y="768"/>
                    </a:lnTo>
                    <a:lnTo>
                      <a:pt x="657" y="777"/>
                    </a:lnTo>
                    <a:lnTo>
                      <a:pt x="641" y="786"/>
                    </a:lnTo>
                    <a:lnTo>
                      <a:pt x="627" y="794"/>
                    </a:lnTo>
                    <a:lnTo>
                      <a:pt x="611" y="801"/>
                    </a:lnTo>
                    <a:lnTo>
                      <a:pt x="594" y="808"/>
                    </a:lnTo>
                    <a:lnTo>
                      <a:pt x="577" y="813"/>
                    </a:lnTo>
                    <a:lnTo>
                      <a:pt x="560" y="818"/>
                    </a:lnTo>
                    <a:lnTo>
                      <a:pt x="543" y="822"/>
                    </a:lnTo>
                    <a:lnTo>
                      <a:pt x="525" y="826"/>
                    </a:lnTo>
                    <a:lnTo>
                      <a:pt x="507" y="828"/>
                    </a:lnTo>
                    <a:lnTo>
                      <a:pt x="489" y="829"/>
                    </a:lnTo>
                    <a:lnTo>
                      <a:pt x="471" y="829"/>
                    </a:lnTo>
                    <a:lnTo>
                      <a:pt x="453" y="829"/>
                    </a:lnTo>
                    <a:lnTo>
                      <a:pt x="434" y="828"/>
                    </a:lnTo>
                    <a:lnTo>
                      <a:pt x="417" y="826"/>
                    </a:lnTo>
                    <a:lnTo>
                      <a:pt x="399" y="822"/>
                    </a:lnTo>
                    <a:lnTo>
                      <a:pt x="382" y="818"/>
                    </a:lnTo>
                    <a:lnTo>
                      <a:pt x="365" y="813"/>
                    </a:lnTo>
                    <a:lnTo>
                      <a:pt x="348" y="808"/>
                    </a:lnTo>
                    <a:lnTo>
                      <a:pt x="331" y="801"/>
                    </a:lnTo>
                    <a:lnTo>
                      <a:pt x="315" y="794"/>
                    </a:lnTo>
                    <a:lnTo>
                      <a:pt x="300" y="786"/>
                    </a:lnTo>
                    <a:lnTo>
                      <a:pt x="285" y="777"/>
                    </a:lnTo>
                    <a:lnTo>
                      <a:pt x="270" y="768"/>
                    </a:lnTo>
                    <a:lnTo>
                      <a:pt x="256" y="758"/>
                    </a:lnTo>
                    <a:lnTo>
                      <a:pt x="243" y="748"/>
                    </a:lnTo>
                    <a:lnTo>
                      <a:pt x="229" y="736"/>
                    </a:lnTo>
                    <a:lnTo>
                      <a:pt x="217" y="724"/>
                    </a:lnTo>
                    <a:lnTo>
                      <a:pt x="206" y="712"/>
                    </a:lnTo>
                    <a:lnTo>
                      <a:pt x="194" y="699"/>
                    </a:lnTo>
                    <a:lnTo>
                      <a:pt x="183" y="686"/>
                    </a:lnTo>
                    <a:lnTo>
                      <a:pt x="174" y="671"/>
                    </a:lnTo>
                    <a:lnTo>
                      <a:pt x="164" y="656"/>
                    </a:lnTo>
                    <a:lnTo>
                      <a:pt x="156" y="642"/>
                    </a:lnTo>
                    <a:lnTo>
                      <a:pt x="148" y="626"/>
                    </a:lnTo>
                    <a:lnTo>
                      <a:pt x="140" y="610"/>
                    </a:lnTo>
                    <a:lnTo>
                      <a:pt x="134" y="594"/>
                    </a:lnTo>
                    <a:lnTo>
                      <a:pt x="129" y="577"/>
                    </a:lnTo>
                    <a:lnTo>
                      <a:pt x="123" y="560"/>
                    </a:lnTo>
                    <a:lnTo>
                      <a:pt x="120" y="543"/>
                    </a:lnTo>
                    <a:lnTo>
                      <a:pt x="116" y="525"/>
                    </a:lnTo>
                    <a:lnTo>
                      <a:pt x="114" y="507"/>
                    </a:lnTo>
                    <a:lnTo>
                      <a:pt x="113" y="489"/>
                    </a:lnTo>
                    <a:lnTo>
                      <a:pt x="112" y="471"/>
                    </a:lnTo>
                    <a:lnTo>
                      <a:pt x="113" y="452"/>
                    </a:lnTo>
                    <a:lnTo>
                      <a:pt x="114" y="434"/>
                    </a:lnTo>
                    <a:lnTo>
                      <a:pt x="116" y="416"/>
                    </a:lnTo>
                    <a:lnTo>
                      <a:pt x="120" y="399"/>
                    </a:lnTo>
                    <a:lnTo>
                      <a:pt x="123" y="381"/>
                    </a:lnTo>
                    <a:lnTo>
                      <a:pt x="129" y="364"/>
                    </a:lnTo>
                    <a:lnTo>
                      <a:pt x="134" y="347"/>
                    </a:lnTo>
                    <a:lnTo>
                      <a:pt x="140" y="331"/>
                    </a:lnTo>
                    <a:lnTo>
                      <a:pt x="148" y="315"/>
                    </a:lnTo>
                    <a:lnTo>
                      <a:pt x="156" y="299"/>
                    </a:lnTo>
                    <a:lnTo>
                      <a:pt x="164" y="285"/>
                    </a:lnTo>
                    <a:lnTo>
                      <a:pt x="174" y="270"/>
                    </a:lnTo>
                    <a:lnTo>
                      <a:pt x="183" y="256"/>
                    </a:lnTo>
                    <a:lnTo>
                      <a:pt x="194" y="243"/>
                    </a:lnTo>
                    <a:lnTo>
                      <a:pt x="206" y="229"/>
                    </a:lnTo>
                    <a:lnTo>
                      <a:pt x="217" y="217"/>
                    </a:lnTo>
                    <a:lnTo>
                      <a:pt x="229" y="206"/>
                    </a:lnTo>
                    <a:lnTo>
                      <a:pt x="243" y="194"/>
                    </a:lnTo>
                    <a:lnTo>
                      <a:pt x="256" y="183"/>
                    </a:lnTo>
                    <a:lnTo>
                      <a:pt x="270" y="173"/>
                    </a:lnTo>
                    <a:lnTo>
                      <a:pt x="285" y="164"/>
                    </a:lnTo>
                    <a:lnTo>
                      <a:pt x="300" y="155"/>
                    </a:lnTo>
                    <a:lnTo>
                      <a:pt x="315" y="147"/>
                    </a:lnTo>
                    <a:lnTo>
                      <a:pt x="331" y="140"/>
                    </a:lnTo>
                    <a:lnTo>
                      <a:pt x="348" y="133"/>
                    </a:lnTo>
                    <a:lnTo>
                      <a:pt x="365" y="128"/>
                    </a:lnTo>
                    <a:lnTo>
                      <a:pt x="382" y="123"/>
                    </a:lnTo>
                    <a:lnTo>
                      <a:pt x="399" y="119"/>
                    </a:lnTo>
                    <a:lnTo>
                      <a:pt x="417" y="116"/>
                    </a:lnTo>
                    <a:lnTo>
                      <a:pt x="434" y="114"/>
                    </a:lnTo>
                    <a:lnTo>
                      <a:pt x="453" y="112"/>
                    </a:lnTo>
                    <a:lnTo>
                      <a:pt x="471" y="112"/>
                    </a:lnTo>
                    <a:close/>
                  </a:path>
                </a:pathLst>
              </a:custGeom>
              <a:solidFill>
                <a:srgbClr val="0D65AC"/>
              </a:solidFill>
              <a:ln w="3175">
                <a:noFill/>
                <a:round/>
                <a:headEnd/>
                <a:tailEnd/>
              </a:ln>
              <a:effectLst>
                <a:innerShdw dist="38100" dir="5400000">
                  <a:prstClr val="black">
                    <a:alpha val="20000"/>
                  </a:prstClr>
                </a:innerShdw>
              </a:effectLst>
              <a:extLst/>
            </p:spPr>
            <p:txBody>
              <a:bodyPr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>
                  <a:latin typeface="+mj-lt"/>
                </a:endParaRPr>
              </a:p>
            </p:txBody>
          </p:sp>
          <p:sp>
            <p:nvSpPr>
              <p:cNvPr id="39" name="Freeform 171"/>
              <p:cNvSpPr>
                <a:spLocks/>
              </p:cNvSpPr>
              <p:nvPr/>
            </p:nvSpPr>
            <p:spPr bwMode="auto">
              <a:xfrm>
                <a:off x="677863" y="2493963"/>
                <a:ext cx="93663" cy="138113"/>
              </a:xfrm>
              <a:custGeom>
                <a:avLst/>
                <a:gdLst>
                  <a:gd name="T0" fmla="*/ 279 w 294"/>
                  <a:gd name="T1" fmla="*/ 0 h 433"/>
                  <a:gd name="T2" fmla="*/ 287 w 294"/>
                  <a:gd name="T3" fmla="*/ 22 h 433"/>
                  <a:gd name="T4" fmla="*/ 294 w 294"/>
                  <a:gd name="T5" fmla="*/ 44 h 433"/>
                  <a:gd name="T6" fmla="*/ 279 w 294"/>
                  <a:gd name="T7" fmla="*/ 44 h 433"/>
                  <a:gd name="T8" fmla="*/ 255 w 294"/>
                  <a:gd name="T9" fmla="*/ 46 h 433"/>
                  <a:gd name="T10" fmla="*/ 232 w 294"/>
                  <a:gd name="T11" fmla="*/ 49 h 433"/>
                  <a:gd name="T12" fmla="*/ 209 w 294"/>
                  <a:gd name="T13" fmla="*/ 55 h 433"/>
                  <a:gd name="T14" fmla="*/ 188 w 294"/>
                  <a:gd name="T15" fmla="*/ 63 h 433"/>
                  <a:gd name="T16" fmla="*/ 147 w 294"/>
                  <a:gd name="T17" fmla="*/ 85 h 433"/>
                  <a:gd name="T18" fmla="*/ 113 w 294"/>
                  <a:gd name="T19" fmla="*/ 113 h 433"/>
                  <a:gd name="T20" fmla="*/ 84 w 294"/>
                  <a:gd name="T21" fmla="*/ 148 h 433"/>
                  <a:gd name="T22" fmla="*/ 62 w 294"/>
                  <a:gd name="T23" fmla="*/ 188 h 433"/>
                  <a:gd name="T24" fmla="*/ 54 w 294"/>
                  <a:gd name="T25" fmla="*/ 209 h 433"/>
                  <a:gd name="T26" fmla="*/ 49 w 294"/>
                  <a:gd name="T27" fmla="*/ 232 h 433"/>
                  <a:gd name="T28" fmla="*/ 45 w 294"/>
                  <a:gd name="T29" fmla="*/ 256 h 433"/>
                  <a:gd name="T30" fmla="*/ 44 w 294"/>
                  <a:gd name="T31" fmla="*/ 279 h 433"/>
                  <a:gd name="T32" fmla="*/ 47 w 294"/>
                  <a:gd name="T33" fmla="*/ 319 h 433"/>
                  <a:gd name="T34" fmla="*/ 57 w 294"/>
                  <a:gd name="T35" fmla="*/ 355 h 433"/>
                  <a:gd name="T36" fmla="*/ 71 w 294"/>
                  <a:gd name="T37" fmla="*/ 390 h 433"/>
                  <a:gd name="T38" fmla="*/ 91 w 294"/>
                  <a:gd name="T39" fmla="*/ 421 h 433"/>
                  <a:gd name="T40" fmla="*/ 69 w 294"/>
                  <a:gd name="T41" fmla="*/ 427 h 433"/>
                  <a:gd name="T42" fmla="*/ 45 w 294"/>
                  <a:gd name="T43" fmla="*/ 433 h 433"/>
                  <a:gd name="T44" fmla="*/ 26 w 294"/>
                  <a:gd name="T45" fmla="*/ 398 h 433"/>
                  <a:gd name="T46" fmla="*/ 12 w 294"/>
                  <a:gd name="T47" fmla="*/ 361 h 433"/>
                  <a:gd name="T48" fmla="*/ 3 w 294"/>
                  <a:gd name="T49" fmla="*/ 321 h 433"/>
                  <a:gd name="T50" fmla="*/ 0 w 294"/>
                  <a:gd name="T51" fmla="*/ 279 h 433"/>
                  <a:gd name="T52" fmla="*/ 1 w 294"/>
                  <a:gd name="T53" fmla="*/ 251 h 433"/>
                  <a:gd name="T54" fmla="*/ 6 w 294"/>
                  <a:gd name="T55" fmla="*/ 223 h 433"/>
                  <a:gd name="T56" fmla="*/ 13 w 294"/>
                  <a:gd name="T57" fmla="*/ 197 h 433"/>
                  <a:gd name="T58" fmla="*/ 22 w 294"/>
                  <a:gd name="T59" fmla="*/ 171 h 433"/>
                  <a:gd name="T60" fmla="*/ 34 w 294"/>
                  <a:gd name="T61" fmla="*/ 146 h 433"/>
                  <a:gd name="T62" fmla="*/ 48 w 294"/>
                  <a:gd name="T63" fmla="*/ 124 h 433"/>
                  <a:gd name="T64" fmla="*/ 63 w 294"/>
                  <a:gd name="T65" fmla="*/ 102 h 433"/>
                  <a:gd name="T66" fmla="*/ 82 w 294"/>
                  <a:gd name="T67" fmla="*/ 82 h 433"/>
                  <a:gd name="T68" fmla="*/ 102 w 294"/>
                  <a:gd name="T69" fmla="*/ 65 h 433"/>
                  <a:gd name="T70" fmla="*/ 123 w 294"/>
                  <a:gd name="T71" fmla="*/ 48 h 433"/>
                  <a:gd name="T72" fmla="*/ 146 w 294"/>
                  <a:gd name="T73" fmla="*/ 34 h 433"/>
                  <a:gd name="T74" fmla="*/ 171 w 294"/>
                  <a:gd name="T75" fmla="*/ 23 h 433"/>
                  <a:gd name="T76" fmla="*/ 196 w 294"/>
                  <a:gd name="T77" fmla="*/ 13 h 433"/>
                  <a:gd name="T78" fmla="*/ 223 w 294"/>
                  <a:gd name="T79" fmla="*/ 6 h 433"/>
                  <a:gd name="T80" fmla="*/ 251 w 294"/>
                  <a:gd name="T81" fmla="*/ 2 h 433"/>
                  <a:gd name="T82" fmla="*/ 279 w 294"/>
                  <a:gd name="T83" fmla="*/ 0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94" h="433">
                    <a:moveTo>
                      <a:pt x="279" y="0"/>
                    </a:moveTo>
                    <a:lnTo>
                      <a:pt x="279" y="0"/>
                    </a:lnTo>
                    <a:lnTo>
                      <a:pt x="284" y="12"/>
                    </a:lnTo>
                    <a:lnTo>
                      <a:pt x="287" y="22"/>
                    </a:lnTo>
                    <a:lnTo>
                      <a:pt x="290" y="33"/>
                    </a:lnTo>
                    <a:lnTo>
                      <a:pt x="294" y="44"/>
                    </a:lnTo>
                    <a:lnTo>
                      <a:pt x="286" y="44"/>
                    </a:lnTo>
                    <a:lnTo>
                      <a:pt x="279" y="44"/>
                    </a:lnTo>
                    <a:lnTo>
                      <a:pt x="267" y="44"/>
                    </a:lnTo>
                    <a:lnTo>
                      <a:pt x="255" y="46"/>
                    </a:lnTo>
                    <a:lnTo>
                      <a:pt x="243" y="47"/>
                    </a:lnTo>
                    <a:lnTo>
                      <a:pt x="232" y="49"/>
                    </a:lnTo>
                    <a:lnTo>
                      <a:pt x="220" y="51"/>
                    </a:lnTo>
                    <a:lnTo>
                      <a:pt x="209" y="55"/>
                    </a:lnTo>
                    <a:lnTo>
                      <a:pt x="198" y="59"/>
                    </a:lnTo>
                    <a:lnTo>
                      <a:pt x="188" y="63"/>
                    </a:lnTo>
                    <a:lnTo>
                      <a:pt x="167" y="73"/>
                    </a:lnTo>
                    <a:lnTo>
                      <a:pt x="147" y="85"/>
                    </a:lnTo>
                    <a:lnTo>
                      <a:pt x="129" y="98"/>
                    </a:lnTo>
                    <a:lnTo>
                      <a:pt x="113" y="113"/>
                    </a:lnTo>
                    <a:lnTo>
                      <a:pt x="97" y="130"/>
                    </a:lnTo>
                    <a:lnTo>
                      <a:pt x="84" y="148"/>
                    </a:lnTo>
                    <a:lnTo>
                      <a:pt x="73" y="168"/>
                    </a:lnTo>
                    <a:lnTo>
                      <a:pt x="62" y="188"/>
                    </a:lnTo>
                    <a:lnTo>
                      <a:pt x="58" y="199"/>
                    </a:lnTo>
                    <a:lnTo>
                      <a:pt x="54" y="209"/>
                    </a:lnTo>
                    <a:lnTo>
                      <a:pt x="51" y="221"/>
                    </a:lnTo>
                    <a:lnTo>
                      <a:pt x="49" y="232"/>
                    </a:lnTo>
                    <a:lnTo>
                      <a:pt x="47" y="244"/>
                    </a:lnTo>
                    <a:lnTo>
                      <a:pt x="45" y="256"/>
                    </a:lnTo>
                    <a:lnTo>
                      <a:pt x="44" y="268"/>
                    </a:lnTo>
                    <a:lnTo>
                      <a:pt x="44" y="279"/>
                    </a:lnTo>
                    <a:lnTo>
                      <a:pt x="44" y="300"/>
                    </a:lnTo>
                    <a:lnTo>
                      <a:pt x="47" y="319"/>
                    </a:lnTo>
                    <a:lnTo>
                      <a:pt x="51" y="337"/>
                    </a:lnTo>
                    <a:lnTo>
                      <a:pt x="57" y="355"/>
                    </a:lnTo>
                    <a:lnTo>
                      <a:pt x="62" y="373"/>
                    </a:lnTo>
                    <a:lnTo>
                      <a:pt x="71" y="390"/>
                    </a:lnTo>
                    <a:lnTo>
                      <a:pt x="80" y="406"/>
                    </a:lnTo>
                    <a:lnTo>
                      <a:pt x="91" y="421"/>
                    </a:lnTo>
                    <a:lnTo>
                      <a:pt x="79" y="424"/>
                    </a:lnTo>
                    <a:lnTo>
                      <a:pt x="69" y="427"/>
                    </a:lnTo>
                    <a:lnTo>
                      <a:pt x="58" y="431"/>
                    </a:lnTo>
                    <a:lnTo>
                      <a:pt x="45" y="433"/>
                    </a:lnTo>
                    <a:lnTo>
                      <a:pt x="35" y="416"/>
                    </a:lnTo>
                    <a:lnTo>
                      <a:pt x="26" y="398"/>
                    </a:lnTo>
                    <a:lnTo>
                      <a:pt x="18" y="380"/>
                    </a:lnTo>
                    <a:lnTo>
                      <a:pt x="12" y="361"/>
                    </a:lnTo>
                    <a:lnTo>
                      <a:pt x="7" y="341"/>
                    </a:lnTo>
                    <a:lnTo>
                      <a:pt x="3" y="321"/>
                    </a:lnTo>
                    <a:lnTo>
                      <a:pt x="0" y="301"/>
                    </a:lnTo>
                    <a:lnTo>
                      <a:pt x="0" y="279"/>
                    </a:lnTo>
                    <a:lnTo>
                      <a:pt x="0" y="266"/>
                    </a:lnTo>
                    <a:lnTo>
                      <a:pt x="1" y="251"/>
                    </a:lnTo>
                    <a:lnTo>
                      <a:pt x="4" y="238"/>
                    </a:lnTo>
                    <a:lnTo>
                      <a:pt x="6" y="223"/>
                    </a:lnTo>
                    <a:lnTo>
                      <a:pt x="8" y="209"/>
                    </a:lnTo>
                    <a:lnTo>
                      <a:pt x="13" y="197"/>
                    </a:lnTo>
                    <a:lnTo>
                      <a:pt x="17" y="183"/>
                    </a:lnTo>
                    <a:lnTo>
                      <a:pt x="22" y="171"/>
                    </a:lnTo>
                    <a:lnTo>
                      <a:pt x="27" y="159"/>
                    </a:lnTo>
                    <a:lnTo>
                      <a:pt x="34" y="146"/>
                    </a:lnTo>
                    <a:lnTo>
                      <a:pt x="40" y="135"/>
                    </a:lnTo>
                    <a:lnTo>
                      <a:pt x="48" y="124"/>
                    </a:lnTo>
                    <a:lnTo>
                      <a:pt x="56" y="112"/>
                    </a:lnTo>
                    <a:lnTo>
                      <a:pt x="63" y="102"/>
                    </a:lnTo>
                    <a:lnTo>
                      <a:pt x="73" y="92"/>
                    </a:lnTo>
                    <a:lnTo>
                      <a:pt x="82" y="82"/>
                    </a:lnTo>
                    <a:lnTo>
                      <a:pt x="92" y="73"/>
                    </a:lnTo>
                    <a:lnTo>
                      <a:pt x="102" y="65"/>
                    </a:lnTo>
                    <a:lnTo>
                      <a:pt x="112" y="56"/>
                    </a:lnTo>
                    <a:lnTo>
                      <a:pt x="123" y="48"/>
                    </a:lnTo>
                    <a:lnTo>
                      <a:pt x="135" y="41"/>
                    </a:lnTo>
                    <a:lnTo>
                      <a:pt x="146" y="34"/>
                    </a:lnTo>
                    <a:lnTo>
                      <a:pt x="158" y="28"/>
                    </a:lnTo>
                    <a:lnTo>
                      <a:pt x="171" y="23"/>
                    </a:lnTo>
                    <a:lnTo>
                      <a:pt x="183" y="17"/>
                    </a:lnTo>
                    <a:lnTo>
                      <a:pt x="196" y="13"/>
                    </a:lnTo>
                    <a:lnTo>
                      <a:pt x="209" y="9"/>
                    </a:lnTo>
                    <a:lnTo>
                      <a:pt x="223" y="6"/>
                    </a:lnTo>
                    <a:lnTo>
                      <a:pt x="236" y="4"/>
                    </a:lnTo>
                    <a:lnTo>
                      <a:pt x="251" y="2"/>
                    </a:lnTo>
                    <a:lnTo>
                      <a:pt x="264" y="0"/>
                    </a:lnTo>
                    <a:lnTo>
                      <a:pt x="27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37" name="Oval 8"/>
            <p:cNvSpPr/>
            <p:nvPr/>
          </p:nvSpPr>
          <p:spPr>
            <a:xfrm>
              <a:off x="5259267" y="2803881"/>
              <a:ext cx="1641159" cy="1641159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1331640" y="3966330"/>
            <a:ext cx="702778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유보통합에 대비한 보육진흥원의 사업추진 및 연구개발 확대의 법적 근거 추진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1331640" y="4541666"/>
            <a:ext cx="702778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현직 </a:t>
            </a:r>
            <a:r>
              <a:rPr lang="ko-KR" altLang="en-US" sz="15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육어린이집</a:t>
            </a:r>
            <a:r>
              <a:rPr lang="ko-KR" altLang="en-US" sz="1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교직원에 대한 자격증 검정 강화 및 체계적 연수 보강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1331640" y="5103996"/>
            <a:ext cx="702778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5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공공형어린이집</a:t>
            </a:r>
            <a:r>
              <a:rPr lang="ko-KR" altLang="en-US" sz="1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사후품질관리사업의 전문성 강화와 향후 지속 관리 보완</a:t>
            </a:r>
          </a:p>
        </p:txBody>
      </p:sp>
    </p:spTree>
    <p:extLst>
      <p:ext uri="{BB962C8B-B14F-4D97-AF65-F5344CB8AC3E}">
        <p14:creationId xmlns:p14="http://schemas.microsoft.com/office/powerpoint/2010/main" val="1804463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72</TotalTime>
  <Words>1573</Words>
  <Application>Microsoft Office PowerPoint</Application>
  <PresentationFormat>화면 슬라이드 쇼(4:3)</PresentationFormat>
  <Paragraphs>245</Paragraphs>
  <Slides>13</Slides>
  <Notes>6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3</vt:i4>
      </vt:variant>
    </vt:vector>
  </HeadingPairs>
  <TitlesOfParts>
    <vt:vector size="15" baseType="lpstr"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sembly</dc:creator>
  <cp:lastModifiedBy>ASSEMBLY</cp:lastModifiedBy>
  <cp:revision>194</cp:revision>
  <cp:lastPrinted>2014-10-22T12:03:57Z</cp:lastPrinted>
  <dcterms:created xsi:type="dcterms:W3CDTF">2014-10-11T05:07:05Z</dcterms:created>
  <dcterms:modified xsi:type="dcterms:W3CDTF">2014-10-23T01:12:09Z</dcterms:modified>
</cp:coreProperties>
</file>